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34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3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38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8" r:id="rId2"/>
    <p:sldId id="339" r:id="rId3"/>
    <p:sldId id="340" r:id="rId4"/>
    <p:sldId id="341" r:id="rId5"/>
    <p:sldId id="337" r:id="rId6"/>
    <p:sldId id="336" r:id="rId7"/>
    <p:sldId id="338" r:id="rId8"/>
    <p:sldId id="314" r:id="rId9"/>
    <p:sldId id="260" r:id="rId10"/>
    <p:sldId id="321" r:id="rId11"/>
    <p:sldId id="322" r:id="rId12"/>
    <p:sldId id="323" r:id="rId13"/>
    <p:sldId id="325" r:id="rId14"/>
    <p:sldId id="324" r:id="rId15"/>
    <p:sldId id="326" r:id="rId16"/>
    <p:sldId id="327" r:id="rId17"/>
    <p:sldId id="356" r:id="rId18"/>
    <p:sldId id="328" r:id="rId19"/>
    <p:sldId id="330" r:id="rId20"/>
    <p:sldId id="342" r:id="rId21"/>
    <p:sldId id="343" r:id="rId22"/>
    <p:sldId id="350" r:id="rId23"/>
    <p:sldId id="345" r:id="rId24"/>
    <p:sldId id="346" r:id="rId25"/>
    <p:sldId id="347" r:id="rId26"/>
    <p:sldId id="348" r:id="rId27"/>
    <p:sldId id="349" r:id="rId28"/>
    <p:sldId id="331" r:id="rId29"/>
    <p:sldId id="333" r:id="rId30"/>
    <p:sldId id="332" r:id="rId31"/>
    <p:sldId id="334" r:id="rId32"/>
    <p:sldId id="352" r:id="rId33"/>
    <p:sldId id="353" r:id="rId34"/>
    <p:sldId id="354" r:id="rId35"/>
  </p:sldIdLst>
  <p:sldSz cx="12192000" cy="6858000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orient="horz" pos="3552">
          <p15:clr>
            <a:srgbClr val="A4A3A4"/>
          </p15:clr>
        </p15:guide>
        <p15:guide id="3" pos="3840">
          <p15:clr>
            <a:srgbClr val="A4A3A4"/>
          </p15:clr>
        </p15:guide>
        <p15:guide id="4" pos="439">
          <p15:clr>
            <a:srgbClr val="A4A3A4"/>
          </p15:clr>
        </p15:guide>
        <p15:guide id="5" orient="horz" pos="4080">
          <p15:clr>
            <a:srgbClr val="A4A3A4"/>
          </p15:clr>
        </p15:guide>
        <p15:guide id="6" orient="horz" pos="1344">
          <p15:clr>
            <a:srgbClr val="A4A3A4"/>
          </p15:clr>
        </p15:guide>
        <p15:guide id="7" pos="3774">
          <p15:clr>
            <a:srgbClr val="A4A3A4"/>
          </p15:clr>
        </p15:guide>
        <p15:guide id="8" pos="3936">
          <p15:clr>
            <a:srgbClr val="A4A3A4"/>
          </p15:clr>
        </p15:guide>
        <p15:guide id="9" pos="7415">
          <p15:clr>
            <a:srgbClr val="A4A3A4"/>
          </p15:clr>
        </p15:guide>
        <p15:guide id="10" pos="6576">
          <p15:clr>
            <a:srgbClr val="A4A3A4"/>
          </p15:clr>
        </p15:guide>
        <p15:guide id="11" orient="horz" pos="639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55" autoAdjust="0"/>
    <p:restoredTop sz="96763" autoAdjust="0"/>
  </p:normalViewPr>
  <p:slideViewPr>
    <p:cSldViewPr showGuides="1">
      <p:cViewPr varScale="1">
        <p:scale>
          <a:sx n="66" d="100"/>
          <a:sy n="66" d="100"/>
        </p:scale>
        <p:origin x="36" y="52"/>
      </p:cViewPr>
      <p:guideLst>
        <p:guide orient="horz" pos="912"/>
        <p:guide orient="horz" pos="3552"/>
        <p:guide pos="3840"/>
        <p:guide pos="439"/>
        <p:guide orient="horz" pos="4080"/>
        <p:guide orient="horz" pos="1344"/>
        <p:guide pos="3774"/>
        <p:guide pos="3936"/>
        <p:guide pos="7415"/>
        <p:guide pos="6576"/>
        <p:guide orient="horz" pos="639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1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286-4CC4-A63C-BE8BBE9CCAAD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86-4638-ADA4-23BCBD26E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4</c:v>
                </c:pt>
                <c:pt idx="1">
                  <c:v>3</c:v>
                </c:pt>
                <c:pt idx="2">
                  <c:v>2</c:v>
                </c:pt>
                <c:pt idx="3">
                  <c:v>4</c:v>
                </c:pt>
                <c:pt idx="4">
                  <c:v>6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286-4CC4-A63C-BE8BBE9CCA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61-4C30-A742-B2557DE623F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19-4877-93CC-7E1FAFBDA0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286-4CC4-A63C-BE8BBE9CCAA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D$16:$D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E$16:$E$22</c:f>
              <c:numCache>
                <c:formatCode>0%</c:formatCode>
                <c:ptCount val="7"/>
                <c:pt idx="0">
                  <c:v>1.5</c:v>
                </c:pt>
                <c:pt idx="1">
                  <c:v>-0.4</c:v>
                </c:pt>
                <c:pt idx="2">
                  <c:v>0.33333333333333331</c:v>
                </c:pt>
                <c:pt idx="3">
                  <c:v>0</c:v>
                </c:pt>
                <c:pt idx="4">
                  <c:v>0.75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B$3:$B$40</c:f>
              <c:numCache>
                <c:formatCode>General</c:formatCode>
                <c:ptCount val="38"/>
                <c:pt idx="0">
                  <c:v>63</c:v>
                </c:pt>
                <c:pt idx="1">
                  <c:v>33</c:v>
                </c:pt>
                <c:pt idx="2">
                  <c:v>32</c:v>
                </c:pt>
                <c:pt idx="3">
                  <c:v>37</c:v>
                </c:pt>
                <c:pt idx="4">
                  <c:v>28</c:v>
                </c:pt>
                <c:pt idx="5">
                  <c:v>41</c:v>
                </c:pt>
                <c:pt idx="6">
                  <c:v>36</c:v>
                </c:pt>
                <c:pt idx="7">
                  <c:v>38</c:v>
                </c:pt>
                <c:pt idx="8">
                  <c:v>131</c:v>
                </c:pt>
                <c:pt idx="9">
                  <c:v>55</c:v>
                </c:pt>
                <c:pt idx="10">
                  <c:v>36</c:v>
                </c:pt>
                <c:pt idx="11">
                  <c:v>34</c:v>
                </c:pt>
                <c:pt idx="12">
                  <c:v>30</c:v>
                </c:pt>
                <c:pt idx="13">
                  <c:v>20</c:v>
                </c:pt>
                <c:pt idx="14">
                  <c:v>24</c:v>
                </c:pt>
                <c:pt idx="15">
                  <c:v>18</c:v>
                </c:pt>
                <c:pt idx="16">
                  <c:v>33</c:v>
                </c:pt>
                <c:pt idx="17">
                  <c:v>11</c:v>
                </c:pt>
                <c:pt idx="18">
                  <c:v>26</c:v>
                </c:pt>
                <c:pt idx="19">
                  <c:v>31</c:v>
                </c:pt>
                <c:pt idx="20">
                  <c:v>33</c:v>
                </c:pt>
                <c:pt idx="21">
                  <c:v>28</c:v>
                </c:pt>
                <c:pt idx="22">
                  <c:v>30</c:v>
                </c:pt>
                <c:pt idx="23">
                  <c:v>30</c:v>
                </c:pt>
                <c:pt idx="24">
                  <c:v>18</c:v>
                </c:pt>
                <c:pt idx="25">
                  <c:v>20</c:v>
                </c:pt>
                <c:pt idx="26">
                  <c:v>15</c:v>
                </c:pt>
                <c:pt idx="27">
                  <c:v>19</c:v>
                </c:pt>
                <c:pt idx="28">
                  <c:v>30</c:v>
                </c:pt>
                <c:pt idx="29">
                  <c:v>28</c:v>
                </c:pt>
                <c:pt idx="30">
                  <c:v>27</c:v>
                </c:pt>
                <c:pt idx="31">
                  <c:v>30</c:v>
                </c:pt>
                <c:pt idx="32">
                  <c:v>24</c:v>
                </c:pt>
                <c:pt idx="33">
                  <c:v>29</c:v>
                </c:pt>
                <c:pt idx="34">
                  <c:v>21</c:v>
                </c:pt>
                <c:pt idx="35">
                  <c:v>28</c:v>
                </c:pt>
                <c:pt idx="36">
                  <c:v>17</c:v>
                </c:pt>
                <c:pt idx="37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A08-4298-9FB7-FD9B09BB776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394C358-EB4A-4D8A-AF8E-8A200F73FEF9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A08-4298-9FB7-FD9B09BB776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3B5238C-0035-4E04-B91E-2E4F74FB48D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A08-4298-9FB7-FD9B09BB7762}"/>
                </c:ext>
              </c:extLst>
            </c:dLbl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08-4298-9FB7-FD9B09BB77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C$3:$C$40</c:f>
              <c:numCache>
                <c:formatCode>0</c:formatCode>
                <c:ptCount val="38"/>
                <c:pt idx="0">
                  <c:v>34.5</c:v>
                </c:pt>
                <c:pt idx="1">
                  <c:v>34</c:v>
                </c:pt>
                <c:pt idx="2">
                  <c:v>33.5</c:v>
                </c:pt>
                <c:pt idx="3">
                  <c:v>34.200000000000003</c:v>
                </c:pt>
                <c:pt idx="4">
                  <c:v>33.166666666666664</c:v>
                </c:pt>
                <c:pt idx="5">
                  <c:v>34.285714285714285</c:v>
                </c:pt>
                <c:pt idx="6">
                  <c:v>34.5</c:v>
                </c:pt>
                <c:pt idx="7">
                  <c:v>34.888888888888886</c:v>
                </c:pt>
                <c:pt idx="8">
                  <c:v>44.5</c:v>
                </c:pt>
                <c:pt idx="9">
                  <c:v>45.454545454545453</c:v>
                </c:pt>
                <c:pt idx="10">
                  <c:v>44.666666666666664</c:v>
                </c:pt>
                <c:pt idx="11">
                  <c:v>43.846153846153847</c:v>
                </c:pt>
                <c:pt idx="12">
                  <c:v>42.857142857142854</c:v>
                </c:pt>
                <c:pt idx="13">
                  <c:v>41.333333333333336</c:v>
                </c:pt>
                <c:pt idx="14">
                  <c:v>40.25</c:v>
                </c:pt>
                <c:pt idx="15">
                  <c:v>38.941176470588232</c:v>
                </c:pt>
                <c:pt idx="16">
                  <c:v>38.611111111111114</c:v>
                </c:pt>
                <c:pt idx="17">
                  <c:v>37.157894736842103</c:v>
                </c:pt>
                <c:pt idx="18">
                  <c:v>36.6</c:v>
                </c:pt>
                <c:pt idx="19">
                  <c:v>36.333333333333336</c:v>
                </c:pt>
                <c:pt idx="20">
                  <c:v>36.18181818181818</c:v>
                </c:pt>
                <c:pt idx="21">
                  <c:v>35.826086956521742</c:v>
                </c:pt>
                <c:pt idx="22">
                  <c:v>35.583333333333336</c:v>
                </c:pt>
                <c:pt idx="23">
                  <c:v>35.36</c:v>
                </c:pt>
                <c:pt idx="24">
                  <c:v>34.692307692307693</c:v>
                </c:pt>
                <c:pt idx="25">
                  <c:v>34.148148148148145</c:v>
                </c:pt>
                <c:pt idx="26">
                  <c:v>33.464285714285715</c:v>
                </c:pt>
                <c:pt idx="27">
                  <c:v>32.96551724137931</c:v>
                </c:pt>
                <c:pt idx="28">
                  <c:v>32.866666666666667</c:v>
                </c:pt>
                <c:pt idx="29">
                  <c:v>32.70967741935484</c:v>
                </c:pt>
                <c:pt idx="30">
                  <c:v>32.53125</c:v>
                </c:pt>
                <c:pt idx="31">
                  <c:v>32.454545454545453</c:v>
                </c:pt>
                <c:pt idx="32">
                  <c:v>32.205882352941174</c:v>
                </c:pt>
                <c:pt idx="33">
                  <c:v>32.114285714285714</c:v>
                </c:pt>
                <c:pt idx="34">
                  <c:v>31.805555555555557</c:v>
                </c:pt>
                <c:pt idx="35">
                  <c:v>31.702702702702702</c:v>
                </c:pt>
                <c:pt idx="36">
                  <c:v>31.315789473684209</c:v>
                </c:pt>
                <c:pt idx="37">
                  <c:v>31.2307692307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9664"/>
        <c:crosses val="autoZero"/>
        <c:auto val="0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2.9407415622342999E-2"/>
                  <c:y val="-2.85598539313021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13-4ED9-BC22-56B08AA10C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3</c:v>
                </c:pt>
                <c:pt idx="1">
                  <c:v>9</c:v>
                </c:pt>
                <c:pt idx="2" formatCode="0">
                  <c:v>4.7142857142857144</c:v>
                </c:pt>
                <c:pt idx="3" formatCode="0">
                  <c:v>4.5714285714285712</c:v>
                </c:pt>
                <c:pt idx="4" formatCode="0">
                  <c:v>5.2857142857142856</c:v>
                </c:pt>
                <c:pt idx="5" formatCode="0">
                  <c:v>4</c:v>
                </c:pt>
                <c:pt idx="6" formatCode="0">
                  <c:v>5.8571428571428568</c:v>
                </c:pt>
                <c:pt idx="7" formatCode="0">
                  <c:v>5.1428571428571432</c:v>
                </c:pt>
                <c:pt idx="8" formatCode="0">
                  <c:v>5.4285714285714288</c:v>
                </c:pt>
                <c:pt idx="9" formatCode="0">
                  <c:v>18.714285714285715</c:v>
                </c:pt>
                <c:pt idx="10" formatCode="0">
                  <c:v>7.8571428571428568</c:v>
                </c:pt>
                <c:pt idx="11" formatCode="0">
                  <c:v>5.1428571428571432</c:v>
                </c:pt>
                <c:pt idx="12" formatCode="0">
                  <c:v>4.8571428571428568</c:v>
                </c:pt>
                <c:pt idx="13" formatCode="0">
                  <c:v>4.2857142857142856</c:v>
                </c:pt>
                <c:pt idx="14" formatCode="0">
                  <c:v>2.8571428571428572</c:v>
                </c:pt>
                <c:pt idx="15" formatCode="0">
                  <c:v>3.4285714285714284</c:v>
                </c:pt>
                <c:pt idx="16" formatCode="0">
                  <c:v>2.5714285714285716</c:v>
                </c:pt>
                <c:pt idx="17" formatCode="0">
                  <c:v>4.7142857142857144</c:v>
                </c:pt>
                <c:pt idx="18" formatCode="0">
                  <c:v>1.5714285714285714</c:v>
                </c:pt>
                <c:pt idx="19" formatCode="0">
                  <c:v>3.7142857142857144</c:v>
                </c:pt>
                <c:pt idx="20" formatCode="0">
                  <c:v>4.4285714285714288</c:v>
                </c:pt>
                <c:pt idx="21" formatCode="0">
                  <c:v>4.7142857142857144</c:v>
                </c:pt>
                <c:pt idx="22" formatCode="0">
                  <c:v>4</c:v>
                </c:pt>
                <c:pt idx="23" formatCode="0">
                  <c:v>4.2857142857142856</c:v>
                </c:pt>
                <c:pt idx="24" formatCode="0">
                  <c:v>4.2857142857142856</c:v>
                </c:pt>
                <c:pt idx="25" formatCode="0">
                  <c:v>2.5714285714285716</c:v>
                </c:pt>
                <c:pt idx="26" formatCode="0">
                  <c:v>2.8571428571428572</c:v>
                </c:pt>
                <c:pt idx="27" formatCode="0">
                  <c:v>2.1428571428571428</c:v>
                </c:pt>
                <c:pt idx="28" formatCode="0">
                  <c:v>2.7142857142857144</c:v>
                </c:pt>
                <c:pt idx="29" formatCode="0">
                  <c:v>4.2857142857142856</c:v>
                </c:pt>
                <c:pt idx="30" formatCode="0">
                  <c:v>4</c:v>
                </c:pt>
                <c:pt idx="31" formatCode="0">
                  <c:v>3.8571428571428572</c:v>
                </c:pt>
                <c:pt idx="32" formatCode="0">
                  <c:v>4.2857142857142856</c:v>
                </c:pt>
                <c:pt idx="33" formatCode="0">
                  <c:v>3.4285714285714284</c:v>
                </c:pt>
                <c:pt idx="34" formatCode="0">
                  <c:v>4.1428571428571432</c:v>
                </c:pt>
                <c:pt idx="35" formatCode="0">
                  <c:v>3</c:v>
                </c:pt>
                <c:pt idx="36" formatCode="0">
                  <c:v>4</c:v>
                </c:pt>
                <c:pt idx="37" formatCode="0">
                  <c:v>2.4285714285714284</c:v>
                </c:pt>
                <c:pt idx="38" formatCode="0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07040"/>
        <c:crosses val="autoZero"/>
        <c:auto val="0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5A4-44F8-B981-FE6B1D6257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3162393162393162</c:v>
                </c:pt>
                <c:pt idx="2" formatCode="0.00%">
                  <c:v>0.97785977859778594</c:v>
                </c:pt>
                <c:pt idx="3" formatCode="0.00%">
                  <c:v>0.21455223880597016</c:v>
                </c:pt>
                <c:pt idx="4" formatCode="0.00%">
                  <c:v>0.16897081413210446</c:v>
                </c:pt>
                <c:pt idx="5" formatCode="0.00%">
                  <c:v>0.16294349540078842</c:v>
                </c:pt>
                <c:pt idx="6" formatCode="0.00%">
                  <c:v>0.10056497175141244</c:v>
                </c:pt>
                <c:pt idx="7" formatCode="0.00%">
                  <c:v>0.12320328542094455</c:v>
                </c:pt>
                <c:pt idx="8" formatCode="0.00%">
                  <c:v>9.6892138939670927E-2</c:v>
                </c:pt>
                <c:pt idx="9" formatCode="0.00%">
                  <c:v>1.4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5A4-44F8-B981-FE6B1D6257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31623931623931623</c:v>
                </c:pt>
                <c:pt idx="2" formatCode="0.00%">
                  <c:v>0.72077922077922074</c:v>
                </c:pt>
                <c:pt idx="3" formatCode="0.00%">
                  <c:v>-0.56603773584905659</c:v>
                </c:pt>
                <c:pt idx="4" formatCode="0.00%">
                  <c:v>-4.3478260869565216E-2</c:v>
                </c:pt>
                <c:pt idx="5" formatCode="0.00%">
                  <c:v>0.12727272727272726</c:v>
                </c:pt>
                <c:pt idx="6" formatCode="0.00%">
                  <c:v>-0.28225806451612906</c:v>
                </c:pt>
                <c:pt idx="7" formatCode="0.00%">
                  <c:v>0.34831460674157305</c:v>
                </c:pt>
                <c:pt idx="8" formatCode="0.00%">
                  <c:v>-0.11666666666666667</c:v>
                </c:pt>
                <c:pt idx="9" formatCode="0.00%">
                  <c:v>-0.83018867924528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0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9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3:$B$9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A8-46F4-B15A-36C1F188D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1.02941176470588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08B-4CB3-B7F9-B4C8877BD55A}"/>
                </c:ext>
              </c:extLst>
            </c:dLbl>
            <c:dLbl>
              <c:idx val="16"/>
              <c:layout>
                <c:manualLayout>
                  <c:x val="0"/>
                  <c:y val="1.3235294117647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8B-4CB3-B7F9-B4C8877BD55A}"/>
                </c:ext>
              </c:extLst>
            </c:dLbl>
            <c:dLbl>
              <c:idx val="17"/>
              <c:layout>
                <c:manualLayout>
                  <c:x val="2.3465971159643902E-3"/>
                  <c:y val="1.911764705882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8B-4CB3-B7F9-B4C8877BD55A}"/>
                </c:ext>
              </c:extLst>
            </c:dLbl>
            <c:dLbl>
              <c:idx val="22"/>
              <c:layout>
                <c:manualLayout>
                  <c:x val="1.5643980773096E-3"/>
                  <c:y val="1.76470588235294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08B-4CB3-B7F9-B4C8877BD5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1.6428571428571428</c:v>
                </c:pt>
                <c:pt idx="5" formatCode="0.00%">
                  <c:v>0.13513513513513514</c:v>
                </c:pt>
                <c:pt idx="6" formatCode="0.00%">
                  <c:v>0.54761904761904767</c:v>
                </c:pt>
                <c:pt idx="7" formatCode="0.00%">
                  <c:v>0.15384615384615385</c:v>
                </c:pt>
                <c:pt idx="8" formatCode="0.00%">
                  <c:v>0.12</c:v>
                </c:pt>
                <c:pt idx="9" formatCode="0.00%">
                  <c:v>0.76190476190476186</c:v>
                </c:pt>
                <c:pt idx="10" formatCode="0.00%">
                  <c:v>0.25</c:v>
                </c:pt>
                <c:pt idx="11" formatCode="0.00%">
                  <c:v>6.4864864864864868E-2</c:v>
                </c:pt>
                <c:pt idx="12" formatCode="0.00%">
                  <c:v>8.1218274111675121E-2</c:v>
                </c:pt>
                <c:pt idx="13" formatCode="0.00%">
                  <c:v>3.2863849765258218E-2</c:v>
                </c:pt>
                <c:pt idx="14" formatCode="0.00%">
                  <c:v>3.1818181818181815E-2</c:v>
                </c:pt>
                <c:pt idx="15" formatCode="0.00%">
                  <c:v>1.3215859030837005E-2</c:v>
                </c:pt>
                <c:pt idx="16" formatCode="0.00%">
                  <c:v>1.3043478260869565E-2</c:v>
                </c:pt>
                <c:pt idx="17" formatCode="0.00%">
                  <c:v>8.5836909871244635E-3</c:v>
                </c:pt>
                <c:pt idx="18" formatCode="0.00%">
                  <c:v>1.7021276595744681E-2</c:v>
                </c:pt>
                <c:pt idx="19" formatCode="0.00%">
                  <c:v>1.6736401673640166E-2</c:v>
                </c:pt>
                <c:pt idx="20" formatCode="0.00%">
                  <c:v>4.5267489711934158E-2</c:v>
                </c:pt>
                <c:pt idx="21" formatCode="0.00%">
                  <c:v>3.5433070866141732E-2</c:v>
                </c:pt>
                <c:pt idx="22" formatCode="0.00%">
                  <c:v>7.6045627376425855E-3</c:v>
                </c:pt>
                <c:pt idx="23" formatCode="0.00%">
                  <c:v>0</c:v>
                </c:pt>
                <c:pt idx="24" formatCode="0.00%">
                  <c:v>3.0188679245283019E-2</c:v>
                </c:pt>
                <c:pt idx="25" formatCode="0.00%">
                  <c:v>3.2967032967032968E-2</c:v>
                </c:pt>
                <c:pt idx="26" formatCode="0.00%">
                  <c:v>7.0921985815602835E-3</c:v>
                </c:pt>
                <c:pt idx="27" formatCode="0.00%">
                  <c:v>0</c:v>
                </c:pt>
                <c:pt idx="28" formatCode="0.00%">
                  <c:v>4.5774647887323945E-2</c:v>
                </c:pt>
                <c:pt idx="29" formatCode="0.00%">
                  <c:v>3.7037037037037035E-2</c:v>
                </c:pt>
                <c:pt idx="30" formatCode="0.00%">
                  <c:v>1.2987012987012988E-2</c:v>
                </c:pt>
                <c:pt idx="31" formatCode="0.00%">
                  <c:v>2.2435897435897436E-2</c:v>
                </c:pt>
                <c:pt idx="32" formatCode="0.00%">
                  <c:v>2.5078369905956112E-2</c:v>
                </c:pt>
                <c:pt idx="33" formatCode="0.00%">
                  <c:v>1.5290519877675841E-2</c:v>
                </c:pt>
                <c:pt idx="34" formatCode="0.00%">
                  <c:v>1.8072289156626505E-2</c:v>
                </c:pt>
                <c:pt idx="35" formatCode="0.00%">
                  <c:v>0</c:v>
                </c:pt>
                <c:pt idx="36" formatCode="0.00%">
                  <c:v>8.8757396449704144E-3</c:v>
                </c:pt>
                <c:pt idx="37" formatCode="0.00%">
                  <c:v>0</c:v>
                </c:pt>
                <c:pt idx="38" formatCode="0.00%">
                  <c:v>2.932551319648093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08B-4CB3-B7F9-B4C8877BD55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0.6428571428571429</c:v>
                </c:pt>
                <c:pt idx="5" formatCode="0.00%">
                  <c:v>-0.78260869565217395</c:v>
                </c:pt>
                <c:pt idx="6" formatCode="0.00%">
                  <c:v>3.6</c:v>
                </c:pt>
                <c:pt idx="7" formatCode="0.00%">
                  <c:v>-0.56521739130434778</c:v>
                </c:pt>
                <c:pt idx="8" formatCode="0.00%">
                  <c:v>-0.1</c:v>
                </c:pt>
                <c:pt idx="9" formatCode="0.00%">
                  <c:v>6.1111111111111107</c:v>
                </c:pt>
                <c:pt idx="10" formatCode="0.00%">
                  <c:v>-0.421875</c:v>
                </c:pt>
                <c:pt idx="11" formatCode="0.00%">
                  <c:v>-0.67567567567567566</c:v>
                </c:pt>
                <c:pt idx="12" formatCode="0.00%">
                  <c:v>0.33333333333333331</c:v>
                </c:pt>
                <c:pt idx="13" formatCode="0.00%">
                  <c:v>-0.5625</c:v>
                </c:pt>
                <c:pt idx="14" formatCode="0.00%">
                  <c:v>0</c:v>
                </c:pt>
                <c:pt idx="15" formatCode="0.00%">
                  <c:v>-0.5714285714285714</c:v>
                </c:pt>
                <c:pt idx="16" formatCode="0.00%">
                  <c:v>0</c:v>
                </c:pt>
                <c:pt idx="17" formatCode="0.00%">
                  <c:v>-0.33333333333333331</c:v>
                </c:pt>
                <c:pt idx="18" formatCode="0.00%">
                  <c:v>1</c:v>
                </c:pt>
                <c:pt idx="19" formatCode="0.00%">
                  <c:v>0</c:v>
                </c:pt>
                <c:pt idx="20" formatCode="0.00%">
                  <c:v>1.75</c:v>
                </c:pt>
                <c:pt idx="21" formatCode="0.00%">
                  <c:v>-0.18181818181818182</c:v>
                </c:pt>
                <c:pt idx="22" formatCode="0.00%">
                  <c:v>-0.77777777777777779</c:v>
                </c:pt>
                <c:pt idx="23" formatCode="0.00%">
                  <c:v>-1</c:v>
                </c:pt>
                <c:pt idx="24" formatCode="0.00%">
                  <c:v>0</c:v>
                </c:pt>
                <c:pt idx="25" formatCode="0.00%">
                  <c:v>0.125</c:v>
                </c:pt>
                <c:pt idx="26" formatCode="0.00%">
                  <c:v>-0.77777777777777779</c:v>
                </c:pt>
                <c:pt idx="27" formatCode="0.00%">
                  <c:v>-1</c:v>
                </c:pt>
                <c:pt idx="28" formatCode="0.00%">
                  <c:v>0</c:v>
                </c:pt>
                <c:pt idx="29" formatCode="0.00%">
                  <c:v>-0.15384615384615385</c:v>
                </c:pt>
                <c:pt idx="30" formatCode="0.00%">
                  <c:v>-0.63636363636363635</c:v>
                </c:pt>
                <c:pt idx="31" formatCode="0.00%">
                  <c:v>0.75</c:v>
                </c:pt>
                <c:pt idx="32" formatCode="0.00%">
                  <c:v>0.14285714285714285</c:v>
                </c:pt>
                <c:pt idx="33" formatCode="0.00%">
                  <c:v>-0.375</c:v>
                </c:pt>
                <c:pt idx="34" formatCode="0.00%">
                  <c:v>0.2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2019 Calendar weeks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3188691087527"/>
          <c:w val="0.84886510665040105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57-4259-B619-11AD08E3996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57-4259-B619-11AD08E3996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57-4259-B619-11AD08E3996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5B7B887-3318-4197-9262-23D569BB344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7F-4CAB-94C5-78001493B9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865</c:v>
                </c:pt>
                <c:pt idx="7">
                  <c:v>9.375</c:v>
                </c:pt>
                <c:pt idx="8">
                  <c:v>9.3333333333333339</c:v>
                </c:pt>
                <c:pt idx="9">
                  <c:v>14.8</c:v>
                </c:pt>
                <c:pt idx="10">
                  <c:v>16.818181818181817</c:v>
                </c:pt>
                <c:pt idx="11">
                  <c:v>16.416666666666668</c:v>
                </c:pt>
                <c:pt idx="12">
                  <c:v>16.384615384615383</c:v>
                </c:pt>
                <c:pt idx="13">
                  <c:v>15.714285714285714</c:v>
                </c:pt>
                <c:pt idx="14">
                  <c:v>15.133333333333333</c:v>
                </c:pt>
                <c:pt idx="15">
                  <c:v>14.375</c:v>
                </c:pt>
                <c:pt idx="16">
                  <c:v>13.705882352941176</c:v>
                </c:pt>
                <c:pt idx="17">
                  <c:v>13.055555555555555</c:v>
                </c:pt>
                <c:pt idx="18">
                  <c:v>12.578947368421053</c:v>
                </c:pt>
                <c:pt idx="19">
                  <c:v>12.15</c:v>
                </c:pt>
                <c:pt idx="20">
                  <c:v>12.095238095238095</c:v>
                </c:pt>
                <c:pt idx="21">
                  <c:v>11.954545454545455</c:v>
                </c:pt>
                <c:pt idx="22">
                  <c:v>11.521739130434783</c:v>
                </c:pt>
                <c:pt idx="23">
                  <c:v>11.041666666666666</c:v>
                </c:pt>
                <c:pt idx="24">
                  <c:v>10.92</c:v>
                </c:pt>
                <c:pt idx="25">
                  <c:v>10.846153846153847</c:v>
                </c:pt>
                <c:pt idx="26">
                  <c:v>10.518518518518519</c:v>
                </c:pt>
                <c:pt idx="27">
                  <c:v>10.142857142857142</c:v>
                </c:pt>
                <c:pt idx="28">
                  <c:v>10.241379310344827</c:v>
                </c:pt>
                <c:pt idx="29">
                  <c:v>10.266666666666667</c:v>
                </c:pt>
                <c:pt idx="30">
                  <c:v>10.064516129032258</c:v>
                </c:pt>
                <c:pt idx="31">
                  <c:v>9.96875</c:v>
                </c:pt>
                <c:pt idx="32">
                  <c:v>9.9090909090909083</c:v>
                </c:pt>
                <c:pt idx="33">
                  <c:v>9.764705882352942</c:v>
                </c:pt>
                <c:pt idx="34">
                  <c:v>9.6571428571428566</c:v>
                </c:pt>
                <c:pt idx="35">
                  <c:v>9.3888888888888893</c:v>
                </c:pt>
                <c:pt idx="36">
                  <c:v>9.2162162162162158</c:v>
                </c:pt>
                <c:pt idx="37">
                  <c:v>8.973684210526315</c:v>
                </c:pt>
                <c:pt idx="38">
                  <c:v>8.7692307692307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302016"/>
        <c:crosses val="autoZero"/>
        <c:auto val="0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F9-447C-BF98-08F5DF10570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F9-447C-BF98-08F5DF10570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5F9-447C-BF98-08F5DF10570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F9-447C-BF98-08F5DF10570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F9-447C-BF98-08F5DF10570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F9-447C-BF98-08F5DF10570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5F9-447C-BF98-08F5DF10570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5F9-447C-BF98-08F5DF105701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5F9-447C-BF98-08F5DF10570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5F9-447C-BF98-08F5DF1057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 formatCode="0">
                  <c:v>0</c:v>
                </c:pt>
                <c:pt idx="3" formatCode="0">
                  <c:v>2</c:v>
                </c:pt>
                <c:pt idx="4" formatCode="0">
                  <c:v>3.2857142857142856</c:v>
                </c:pt>
                <c:pt idx="5" formatCode="0">
                  <c:v>0.7142857142857143</c:v>
                </c:pt>
                <c:pt idx="6" formatCode="0">
                  <c:v>3.2857142857142856</c:v>
                </c:pt>
                <c:pt idx="7" formatCode="0">
                  <c:v>1.4285714285714286</c:v>
                </c:pt>
                <c:pt idx="8" formatCode="0">
                  <c:v>1.2857142857142858</c:v>
                </c:pt>
                <c:pt idx="9" formatCode="0">
                  <c:v>9.1428571428571423</c:v>
                </c:pt>
                <c:pt idx="10" formatCode="0">
                  <c:v>5.2857142857142856</c:v>
                </c:pt>
                <c:pt idx="11" formatCode="0">
                  <c:v>1.7142857142857142</c:v>
                </c:pt>
                <c:pt idx="12" formatCode="0">
                  <c:v>2.2857142857142856</c:v>
                </c:pt>
                <c:pt idx="13" formatCode="0">
                  <c:v>1</c:v>
                </c:pt>
                <c:pt idx="14" formatCode="0">
                  <c:v>1</c:v>
                </c:pt>
                <c:pt idx="15" formatCode="0">
                  <c:v>0.42857142857142855</c:v>
                </c:pt>
                <c:pt idx="16" formatCode="0">
                  <c:v>0.42857142857142855</c:v>
                </c:pt>
                <c:pt idx="17" formatCode="0">
                  <c:v>0.2857142857142857</c:v>
                </c:pt>
                <c:pt idx="18" formatCode="0">
                  <c:v>0.5714285714285714</c:v>
                </c:pt>
                <c:pt idx="19" formatCode="0">
                  <c:v>0.5714285714285714</c:v>
                </c:pt>
                <c:pt idx="20" formatCode="0">
                  <c:v>1.5714285714285714</c:v>
                </c:pt>
                <c:pt idx="21" formatCode="0">
                  <c:v>1.2857142857142858</c:v>
                </c:pt>
                <c:pt idx="22" formatCode="0">
                  <c:v>0.2857142857142857</c:v>
                </c:pt>
                <c:pt idx="23" formatCode="0">
                  <c:v>0</c:v>
                </c:pt>
                <c:pt idx="24" formatCode="0">
                  <c:v>1.1428571428571428</c:v>
                </c:pt>
                <c:pt idx="25" formatCode="0">
                  <c:v>1.2857142857142858</c:v>
                </c:pt>
                <c:pt idx="26" formatCode="0">
                  <c:v>0.2857142857142857</c:v>
                </c:pt>
                <c:pt idx="27" formatCode="0">
                  <c:v>0</c:v>
                </c:pt>
                <c:pt idx="28" formatCode="0">
                  <c:v>1.8571428571428572</c:v>
                </c:pt>
                <c:pt idx="29" formatCode="0">
                  <c:v>1.5714285714285714</c:v>
                </c:pt>
                <c:pt idx="30" formatCode="0">
                  <c:v>0.5714285714285714</c:v>
                </c:pt>
                <c:pt idx="31" formatCode="0">
                  <c:v>1</c:v>
                </c:pt>
                <c:pt idx="32" formatCode="0">
                  <c:v>1.1428571428571428</c:v>
                </c:pt>
                <c:pt idx="33" formatCode="0">
                  <c:v>0.7142857142857143</c:v>
                </c:pt>
                <c:pt idx="34" formatCode="0">
                  <c:v>0.8571428571428571</c:v>
                </c:pt>
                <c:pt idx="35" formatCode="0">
                  <c:v>0</c:v>
                </c:pt>
                <c:pt idx="36" formatCode="0">
                  <c:v>0.42857142857142855</c:v>
                </c:pt>
                <c:pt idx="37" formatCode="0">
                  <c:v>0</c:v>
                </c:pt>
                <c:pt idx="38" formatCode="0">
                  <c:v>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6496"/>
        <c:crosses val="autoZero"/>
        <c:auto val="0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F77-4B01-8889-D88C2B46338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F77-4B01-8889-D88C2B46338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F77-4B01-8889-D88C2B46338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F77-4B01-8889-D88C2B46338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F77-4B01-8889-D88C2B4633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5.4545454545454541</c:v>
                </c:pt>
                <c:pt idx="2" formatCode="0.00%">
                  <c:v>1.7746478873239437</c:v>
                </c:pt>
                <c:pt idx="3" formatCode="0.00%">
                  <c:v>0.16751269035532995</c:v>
                </c:pt>
                <c:pt idx="4" formatCode="0.00%">
                  <c:v>0.1</c:v>
                </c:pt>
                <c:pt idx="5" formatCode="0.00%">
                  <c:v>7.9051383399209488E-2</c:v>
                </c:pt>
                <c:pt idx="6" formatCode="0.00%">
                  <c:v>9.1575091575091569E-2</c:v>
                </c:pt>
                <c:pt idx="7" formatCode="0.00%">
                  <c:v>0.11409395973154363</c:v>
                </c:pt>
                <c:pt idx="8" formatCode="0.00%">
                  <c:v>3.0120481927710843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77-4B01-8889-D88C2B4633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4.4545454545454541</c:v>
                </c:pt>
                <c:pt idx="2" formatCode="0.00%">
                  <c:v>1.1000000000000001</c:v>
                </c:pt>
                <c:pt idx="3" formatCode="0.00%">
                  <c:v>-0.73809523809523814</c:v>
                </c:pt>
                <c:pt idx="4" formatCode="0.00%">
                  <c:v>-0.30303030303030304</c:v>
                </c:pt>
                <c:pt idx="5" formatCode="0.00%">
                  <c:v>-0.13043478260869565</c:v>
                </c:pt>
                <c:pt idx="6" formatCode="0.00%">
                  <c:v>0.25</c:v>
                </c:pt>
                <c:pt idx="7" formatCode="0.00%">
                  <c:v>0.36</c:v>
                </c:pt>
                <c:pt idx="8" formatCode="0.00%">
                  <c:v>-0.70588235294117652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937761819270119E-3"/>
                  <c:y val="0.115756564855577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3A-43C3-8A7A-51D9470881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0.0_ </c:formatCode>
                <c:ptCount val="7"/>
                <c:pt idx="0">
                  <c:v>0.6</c:v>
                </c:pt>
                <c:pt idx="1">
                  <c:v>1.1000000000000001</c:v>
                </c:pt>
                <c:pt idx="2">
                  <c:v>0.9</c:v>
                </c:pt>
                <c:pt idx="3">
                  <c:v>1.8</c:v>
                </c:pt>
                <c:pt idx="4">
                  <c:v>0.5</c:v>
                </c:pt>
                <c:pt idx="5">
                  <c:v>0.7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0%</c:formatCode>
                <c:ptCount val="7"/>
                <c:pt idx="0">
                  <c:v>-0.33333333333333337</c:v>
                </c:pt>
                <c:pt idx="1">
                  <c:v>0.83333333333333359</c:v>
                </c:pt>
                <c:pt idx="2">
                  <c:v>-0.18181818181818185</c:v>
                </c:pt>
                <c:pt idx="3">
                  <c:v>1</c:v>
                </c:pt>
                <c:pt idx="4">
                  <c:v>-0.72222222222222221</c:v>
                </c:pt>
                <c:pt idx="5">
                  <c:v>0.39999999999999991</c:v>
                </c:pt>
                <c:pt idx="6">
                  <c:v>0.42857142857142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5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937761819269681E-3"/>
                  <c:y val="5.7878282427788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B8-4DE7-9D77-60A47F7E87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0.3</c:v>
                </c:pt>
                <c:pt idx="1">
                  <c:v>1.1000000000000001</c:v>
                </c:pt>
                <c:pt idx="2">
                  <c:v>0.3</c:v>
                </c:pt>
                <c:pt idx="3">
                  <c:v>2.5</c:v>
                </c:pt>
                <c:pt idx="4">
                  <c:v>3.6</c:v>
                </c:pt>
                <c:pt idx="5">
                  <c:v>1.2</c:v>
                </c:pt>
                <c:pt idx="6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B8-4DE7-9D77-60A47F7E8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0%</c:formatCode>
                <c:ptCount val="7"/>
                <c:pt idx="0">
                  <c:v>-0.25000000000000006</c:v>
                </c:pt>
                <c:pt idx="1">
                  <c:v>2.666666666666667</c:v>
                </c:pt>
                <c:pt idx="2">
                  <c:v>-0.72727272727272729</c:v>
                </c:pt>
                <c:pt idx="3">
                  <c:v>7.3333333333333339</c:v>
                </c:pt>
                <c:pt idx="4">
                  <c:v>0.44000000000000006</c:v>
                </c:pt>
                <c:pt idx="5">
                  <c:v>-0.66666666666666674</c:v>
                </c:pt>
                <c:pt idx="6">
                  <c:v>-0.249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6B8-4DE7-9D77-60A47F7E8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52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B60-4D3B-8211-3C0634DE8DD9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60-4D3B-8211-3C0634DE8D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60-4D3B-8211-3C0634DE8D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B60-4D3B-8211-3C0634DE8DD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B60-4D3B-8211-3C0634DE8D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B60-4D3B-8211-3C0634DE8D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D$9:$D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B60-4D3B-8211-3C0634DE8D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E$9:$E$15</c:f>
              <c:numCache>
                <c:formatCode>0%</c:formatCode>
                <c:ptCount val="7"/>
                <c:pt idx="0">
                  <c:v>0</c:v>
                </c:pt>
                <c:pt idx="1">
                  <c:v>-0.5</c:v>
                </c:pt>
                <c:pt idx="2">
                  <c:v>3</c:v>
                </c:pt>
                <c:pt idx="3">
                  <c:v>-0.75</c:v>
                </c:pt>
                <c:pt idx="4">
                  <c:v>0</c:v>
                </c:pt>
                <c:pt idx="5">
                  <c:v>2</c:v>
                </c:pt>
                <c:pt idx="6">
                  <c:v>-0.33333333333333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B60-4D3B-8211-3C0634DE8D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0.29561200923787528</c:v>
                </c:pt>
                <c:pt idx="3" formatCode="0.00%">
                  <c:v>0.4866310160427807</c:v>
                </c:pt>
                <c:pt idx="4" formatCode="0.00%">
                  <c:v>0.18585131894484411</c:v>
                </c:pt>
                <c:pt idx="5" formatCode="0.00%">
                  <c:v>7.2800808897876629E-2</c:v>
                </c:pt>
                <c:pt idx="6" formatCode="0.00%">
                  <c:v>0.24033930254476904</c:v>
                </c:pt>
                <c:pt idx="7" formatCode="0.00%">
                  <c:v>6.0030395136778124E-2</c:v>
                </c:pt>
                <c:pt idx="8" formatCode="0.00%">
                  <c:v>8.74551971326165E-2</c:v>
                </c:pt>
                <c:pt idx="9" formatCode="0.00%">
                  <c:v>0.27620303230059329</c:v>
                </c:pt>
                <c:pt idx="10" formatCode="0.00%">
                  <c:v>0.10898760330578514</c:v>
                </c:pt>
                <c:pt idx="11" formatCode="0.00%">
                  <c:v>6.6138798323241738E-2</c:v>
                </c:pt>
                <c:pt idx="12" formatCode="0.00%">
                  <c:v>5.0240279598077767E-2</c:v>
                </c:pt>
                <c:pt idx="13" formatCode="0.00%">
                  <c:v>6.4059900166389364E-2</c:v>
                </c:pt>
                <c:pt idx="14" formatCode="0.00%">
                  <c:v>8.7959343236903839E-2</c:v>
                </c:pt>
                <c:pt idx="15" formatCode="0.00%">
                  <c:v>2.2278117139777225E-2</c:v>
                </c:pt>
                <c:pt idx="16" formatCode="0.00%">
                  <c:v>3.9718804920913897E-2</c:v>
                </c:pt>
                <c:pt idx="17" formatCode="0.00%">
                  <c:v>2.2650439486139286E-2</c:v>
                </c:pt>
                <c:pt idx="18" formatCode="0.00%">
                  <c:v>4.4297520661157032E-2</c:v>
                </c:pt>
                <c:pt idx="19" formatCode="0.00%">
                  <c:v>4.7166824944602732E-2</c:v>
                </c:pt>
                <c:pt idx="20" formatCode="0.00%">
                  <c:v>4.9274486094316824E-2</c:v>
                </c:pt>
                <c:pt idx="21" formatCode="0.00%">
                  <c:v>3.3419763756842413E-2</c:v>
                </c:pt>
                <c:pt idx="22" formatCode="0.00%">
                  <c:v>2.4811820462782276E-2</c:v>
                </c:pt>
                <c:pt idx="23" formatCode="0.00%">
                  <c:v>1.3873775843307946E-2</c:v>
                </c:pt>
                <c:pt idx="24" formatCode="0.00%">
                  <c:v>2.0660048296216801E-2</c:v>
                </c:pt>
                <c:pt idx="25" formatCode="0.00%">
                  <c:v>2.9968454258675087E-2</c:v>
                </c:pt>
                <c:pt idx="26" formatCode="0.00%">
                  <c:v>1.7355793772332827E-2</c:v>
                </c:pt>
                <c:pt idx="27" formatCode="0.00%">
                  <c:v>9.7842448569995001E-3</c:v>
                </c:pt>
                <c:pt idx="28" formatCode="0.00%">
                  <c:v>2.4596273291925475E-2</c:v>
                </c:pt>
                <c:pt idx="29" formatCode="0.00%">
                  <c:v>7.9534432589718734E-2</c:v>
                </c:pt>
                <c:pt idx="30" formatCode="0.00%">
                  <c:v>1.5498652291105126E-2</c:v>
                </c:pt>
                <c:pt idx="31" formatCode="0.00%">
                  <c:v>2.9418270294182713E-2</c:v>
                </c:pt>
                <c:pt idx="32" formatCode="0.00%">
                  <c:v>1.9338203695745602E-2</c:v>
                </c:pt>
                <c:pt idx="33" formatCode="0.00%">
                  <c:v>1.4333895446880273E-2</c:v>
                </c:pt>
                <c:pt idx="34" formatCode="0.00%">
                  <c:v>1.7871986699916877E-2</c:v>
                </c:pt>
                <c:pt idx="35" formatCode="0.00%">
                  <c:v>1.7354022049816255E-2</c:v>
                </c:pt>
                <c:pt idx="36" formatCode="0.00%">
                  <c:v>1.9064820389323705E-2</c:v>
                </c:pt>
                <c:pt idx="37" formatCode="0.00%">
                  <c:v>1.9495864513588031E-2</c:v>
                </c:pt>
                <c:pt idx="38" formatCode="0.00%">
                  <c:v>1.274869615607494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F2-4278-AC08-16AAF0984A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CF2-4278-AC08-16AAF0984A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-0.70163170163170163</c:v>
                </c:pt>
                <c:pt idx="3" formatCode="0.00%">
                  <c:v>1.1328125</c:v>
                </c:pt>
                <c:pt idx="4" formatCode="0.00%">
                  <c:v>-0.43223443223443225</c:v>
                </c:pt>
                <c:pt idx="5" formatCode="0.00%">
                  <c:v>-0.53548387096774197</c:v>
                </c:pt>
                <c:pt idx="6" formatCode="0.00%">
                  <c:v>2.5416666666666665</c:v>
                </c:pt>
                <c:pt idx="7" formatCode="0.00%">
                  <c:v>-0.69019607843137243</c:v>
                </c:pt>
                <c:pt idx="8" formatCode="0.00%">
                  <c:v>0.54430379746835444</c:v>
                </c:pt>
                <c:pt idx="9" formatCode="0.00%">
                  <c:v>2.4344262295081962</c:v>
                </c:pt>
                <c:pt idx="10" formatCode="0.00%">
                  <c:v>-0.49642004773269682</c:v>
                </c:pt>
                <c:pt idx="11" formatCode="0.00%">
                  <c:v>-0.32701421800947877</c:v>
                </c:pt>
                <c:pt idx="12" formatCode="0.00%">
                  <c:v>-0.1901408450704225</c:v>
                </c:pt>
                <c:pt idx="13" formatCode="0.00%">
                  <c:v>0.33913043478260874</c:v>
                </c:pt>
                <c:pt idx="14" formatCode="0.00%">
                  <c:v>0.46103896103896103</c:v>
                </c:pt>
                <c:pt idx="15" formatCode="0.00%">
                  <c:v>-0.72444444444444445</c:v>
                </c:pt>
                <c:pt idx="16" formatCode="0.00%">
                  <c:v>0.82258064516129037</c:v>
                </c:pt>
                <c:pt idx="17" formatCode="0.00%">
                  <c:v>-0.40707964601769914</c:v>
                </c:pt>
                <c:pt idx="18" formatCode="0.00%">
                  <c:v>1</c:v>
                </c:pt>
                <c:pt idx="19" formatCode="0.00%">
                  <c:v>0.11194029850746269</c:v>
                </c:pt>
                <c:pt idx="20" formatCode="0.00%">
                  <c:v>9.3959731543624178E-2</c:v>
                </c:pt>
                <c:pt idx="21" formatCode="0.00%">
                  <c:v>-0.28834355828220865</c:v>
                </c:pt>
                <c:pt idx="22" formatCode="0.00%">
                  <c:v>-0.23275862068965511</c:v>
                </c:pt>
                <c:pt idx="23" formatCode="0.00%">
                  <c:v>-0.4269662921348315</c:v>
                </c:pt>
                <c:pt idx="24" formatCode="0.00%">
                  <c:v>0.50980392156862764</c:v>
                </c:pt>
                <c:pt idx="25" formatCode="0.00%">
                  <c:v>0.48051948051948051</c:v>
                </c:pt>
                <c:pt idx="26" formatCode="0.00%">
                  <c:v>-0.40350877192982459</c:v>
                </c:pt>
                <c:pt idx="27" formatCode="0.00%">
                  <c:v>-0.4264705882352941</c:v>
                </c:pt>
                <c:pt idx="28" formatCode="0.00%">
                  <c:v>1.5384615384615385</c:v>
                </c:pt>
                <c:pt idx="29" formatCode="0.00%">
                  <c:v>2.3131313131313127</c:v>
                </c:pt>
                <c:pt idx="30" formatCode="0.00%">
                  <c:v>-0.78963414634146345</c:v>
                </c:pt>
                <c:pt idx="31" formatCode="0.00%">
                  <c:v>0.92753623188405798</c:v>
                </c:pt>
                <c:pt idx="32" formatCode="0.00%">
                  <c:v>-0.32330827067669177</c:v>
                </c:pt>
                <c:pt idx="33" formatCode="0.00%">
                  <c:v>-0.24444444444444446</c:v>
                </c:pt>
                <c:pt idx="34" formatCode="0.00%">
                  <c:v>0.26470588235294118</c:v>
                </c:pt>
                <c:pt idx="35" formatCode="0.00%">
                  <c:v>-1.1627906976744146E-2</c:v>
                </c:pt>
                <c:pt idx="36" formatCode="0.00%">
                  <c:v>0.11764705882352941</c:v>
                </c:pt>
                <c:pt idx="37" formatCode="0.00%">
                  <c:v>4.2105263157894778E-2</c:v>
                </c:pt>
                <c:pt idx="38" formatCode="0.00%">
                  <c:v>-0.33333333333333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35-43BA-BC9C-6DB118DB7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.00</c:formatCode>
                <c:ptCount val="39"/>
                <c:pt idx="0">
                  <c:v>0.4</c:v>
                </c:pt>
                <c:pt idx="1">
                  <c:v>21.650000000000002</c:v>
                </c:pt>
                <c:pt idx="2">
                  <c:v>18.700000000000003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34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554</c:v>
                </c:pt>
                <c:pt idx="9">
                  <c:v>19.36</c:v>
                </c:pt>
                <c:pt idx="10">
                  <c:v>19.518181818181816</c:v>
                </c:pt>
                <c:pt idx="11">
                  <c:v>19.074999999999999</c:v>
                </c:pt>
                <c:pt idx="12">
                  <c:v>18.492307692307691</c:v>
                </c:pt>
                <c:pt idx="13">
                  <c:v>18.271428571428569</c:v>
                </c:pt>
                <c:pt idx="14">
                  <c:v>18.553333333333331</c:v>
                </c:pt>
                <c:pt idx="15">
                  <c:v>17.781249999999996</c:v>
                </c:pt>
                <c:pt idx="16">
                  <c:v>17.399999999999999</c:v>
                </c:pt>
                <c:pt idx="17">
                  <c:v>16.805555555555554</c:v>
                </c:pt>
                <c:pt idx="18">
                  <c:v>16.626315789473679</c:v>
                </c:pt>
                <c:pt idx="19">
                  <c:v>16.539999999999996</c:v>
                </c:pt>
                <c:pt idx="20">
                  <c:v>16.528571428571425</c:v>
                </c:pt>
                <c:pt idx="21">
                  <c:v>16.304545454545451</c:v>
                </c:pt>
                <c:pt idx="22">
                  <c:v>15.98260869565217</c:v>
                </c:pt>
                <c:pt idx="23">
                  <c:v>15.529166666666663</c:v>
                </c:pt>
                <c:pt idx="24">
                  <c:v>15.215999999999998</c:v>
                </c:pt>
                <c:pt idx="25">
                  <c:v>15.069230769230765</c:v>
                </c:pt>
                <c:pt idx="26">
                  <c:v>14.762962962962959</c:v>
                </c:pt>
                <c:pt idx="27">
                  <c:v>14.374999999999996</c:v>
                </c:pt>
                <c:pt idx="28">
                  <c:v>14.220689655172409</c:v>
                </c:pt>
                <c:pt idx="29">
                  <c:v>14.839999999999996</c:v>
                </c:pt>
                <c:pt idx="30">
                  <c:v>14.58387096774193</c:v>
                </c:pt>
                <c:pt idx="31">
                  <c:v>14.543749999999996</c:v>
                </c:pt>
                <c:pt idx="32">
                  <c:v>14.375757575757572</c:v>
                </c:pt>
                <c:pt idx="33">
                  <c:v>14.152941176470584</c:v>
                </c:pt>
                <c:pt idx="34">
                  <c:v>13.994285714285711</c:v>
                </c:pt>
                <c:pt idx="35">
                  <c:v>13.841666666666663</c:v>
                </c:pt>
                <c:pt idx="36">
                  <c:v>13.724324324324321</c:v>
                </c:pt>
                <c:pt idx="37">
                  <c:v>13.623684210526314</c:v>
                </c:pt>
                <c:pt idx="38">
                  <c:v>13.443589743589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7344"/>
        <c:crosses val="autoZero"/>
        <c:auto val="0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895-4BCD-99D3-894C2029D1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.00</c:formatCode>
                <c:ptCount val="39"/>
                <c:pt idx="0">
                  <c:v>0.2</c:v>
                </c:pt>
                <c:pt idx="1">
                  <c:v>6.128571428571429</c:v>
                </c:pt>
                <c:pt idx="2">
                  <c:v>1.8285714285714287</c:v>
                </c:pt>
                <c:pt idx="3">
                  <c:v>3.9</c:v>
                </c:pt>
                <c:pt idx="4">
                  <c:v>2.2142857142857144</c:v>
                </c:pt>
                <c:pt idx="5">
                  <c:v>1.0285714285714285</c:v>
                </c:pt>
                <c:pt idx="6">
                  <c:v>3.6428571428571423</c:v>
                </c:pt>
                <c:pt idx="7">
                  <c:v>1.1285714285714286</c:v>
                </c:pt>
                <c:pt idx="8">
                  <c:v>1.7428571428571431</c:v>
                </c:pt>
                <c:pt idx="9">
                  <c:v>5.9857142857142858</c:v>
                </c:pt>
                <c:pt idx="10">
                  <c:v>3.0142857142857147</c:v>
                </c:pt>
                <c:pt idx="11">
                  <c:v>2.0285714285714285</c:v>
                </c:pt>
                <c:pt idx="12">
                  <c:v>1.6428571428571428</c:v>
                </c:pt>
                <c:pt idx="13">
                  <c:v>2.2000000000000002</c:v>
                </c:pt>
                <c:pt idx="14">
                  <c:v>3.2142857142857144</c:v>
                </c:pt>
                <c:pt idx="15">
                  <c:v>0.88571428571428579</c:v>
                </c:pt>
                <c:pt idx="16">
                  <c:v>1.6142857142857143</c:v>
                </c:pt>
                <c:pt idx="17">
                  <c:v>0.95714285714285718</c:v>
                </c:pt>
                <c:pt idx="18">
                  <c:v>1.9142857142857144</c:v>
                </c:pt>
                <c:pt idx="19">
                  <c:v>2.1285714285714286</c:v>
                </c:pt>
                <c:pt idx="20">
                  <c:v>2.3285714285714287</c:v>
                </c:pt>
                <c:pt idx="21">
                  <c:v>1.657142857142857</c:v>
                </c:pt>
                <c:pt idx="22">
                  <c:v>1.2714285714285716</c:v>
                </c:pt>
                <c:pt idx="23">
                  <c:v>0.72857142857142854</c:v>
                </c:pt>
                <c:pt idx="24">
                  <c:v>1.1000000000000001</c:v>
                </c:pt>
                <c:pt idx="25">
                  <c:v>1.6285714285714286</c:v>
                </c:pt>
                <c:pt idx="26">
                  <c:v>0.97142857142857142</c:v>
                </c:pt>
                <c:pt idx="27">
                  <c:v>0.55714285714285716</c:v>
                </c:pt>
                <c:pt idx="28">
                  <c:v>1.4142857142857144</c:v>
                </c:pt>
                <c:pt idx="29">
                  <c:v>4.6857142857142851</c:v>
                </c:pt>
                <c:pt idx="30">
                  <c:v>0.98571428571428577</c:v>
                </c:pt>
                <c:pt idx="31">
                  <c:v>1.9000000000000001</c:v>
                </c:pt>
                <c:pt idx="32">
                  <c:v>1.2857142857142858</c:v>
                </c:pt>
                <c:pt idx="33">
                  <c:v>0.97142857142857142</c:v>
                </c:pt>
                <c:pt idx="34">
                  <c:v>1.2285714285714284</c:v>
                </c:pt>
                <c:pt idx="35">
                  <c:v>1.2142857142857142</c:v>
                </c:pt>
                <c:pt idx="36">
                  <c:v>1.3571428571428572</c:v>
                </c:pt>
                <c:pt idx="37">
                  <c:v>1.4142857142857144</c:v>
                </c:pt>
                <c:pt idx="38">
                  <c:v>0.94285714285714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91328"/>
        <c:crosses val="autoZero"/>
        <c:auto val="0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4B3-4B01-A52A-E282AEF7F82A}"/>
              </c:ext>
            </c:extLst>
          </c:dPt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4B3-4B01-A52A-E282AEF7F8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4.900000000000006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00000000000003</c:v>
                </c:pt>
                <c:pt idx="9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4B3-4B01-A52A-E282AEF7F82A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4B3-4B01-A52A-E282AEF7F8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325115562403698</c:v>
                </c:pt>
                <c:pt idx="2" formatCode="0.00%">
                  <c:v>0.65390173410404617</c:v>
                </c:pt>
                <c:pt idx="3" formatCode="0.00%">
                  <c:v>0.26299694189602446</c:v>
                </c:pt>
                <c:pt idx="4" formatCode="0.00%">
                  <c:v>0.19854721549636803</c:v>
                </c:pt>
                <c:pt idx="5" formatCode="0.00%">
                  <c:v>0.1137085137085137</c:v>
                </c:pt>
                <c:pt idx="6" formatCode="0.00%">
                  <c:v>9.0697071780253963E-2</c:v>
                </c:pt>
                <c:pt idx="7" formatCode="0.00%">
                  <c:v>0.14326443335709194</c:v>
                </c:pt>
                <c:pt idx="8" formatCode="0.00%">
                  <c:v>7.9384871155444736E-2</c:v>
                </c:pt>
                <c:pt idx="9" formatCode="0.00%">
                  <c:v>9.433962264150944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B3-4B01-A52A-E282AEF7F82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325115562403697</c:v>
                </c:pt>
                <c:pt idx="2" formatCode="0.00%">
                  <c:v>0.23129251700680273</c:v>
                </c:pt>
                <c:pt idx="3" formatCode="0.00%">
                  <c:v>-0.33480662983425413</c:v>
                </c:pt>
                <c:pt idx="4" formatCode="0.00%">
                  <c:v>-4.6511627906976813E-2</c:v>
                </c:pt>
                <c:pt idx="5" formatCode="0.00%">
                  <c:v>-0.31358885017421606</c:v>
                </c:pt>
                <c:pt idx="6" formatCode="0.00%">
                  <c:v>-0.11167512690355327</c:v>
                </c:pt>
                <c:pt idx="7" formatCode="0.00%">
                  <c:v>0.72285714285714275</c:v>
                </c:pt>
                <c:pt idx="8" formatCode="0.00%">
                  <c:v>-0.36650082918739629</c:v>
                </c:pt>
                <c:pt idx="9" formatCode="0.00%">
                  <c:v>-0.87172774869109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1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FF-43BB-88F7-B4491426F2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9:$C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0FF-43BB-88F7-B4491426F23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0FF-43BB-88F7-B4491426F23A}"/>
              </c:ext>
            </c:extLst>
          </c:dPt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D$9:$D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F3-40A2-9D87-3A451B6168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E$9:$E$15</c:f>
              <c:numCache>
                <c:formatCode>0%</c:formatCode>
                <c:ptCount val="7"/>
                <c:pt idx="0">
                  <c:v>-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-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52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8C-480F-B615-8A57A5360C1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8C-480F-B615-8A57A5360C1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8C-480F-B615-8A57A5360C1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28C-480F-B615-8A57A5360C1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28C-480F-B615-8A57A5360C1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28C-480F-B615-8A57A5360C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28C-480F-B615-8A57A5360C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28C-480F-B615-8A57A5360C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128C-480F-B615-8A57A5360C18}"/>
              </c:ext>
            </c:extLst>
          </c:dPt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28C-480F-B615-8A57A5360C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28C-480F-B615-8A57A5360C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8</c:f>
              <c:numCache>
                <c:formatCode>m/d/yyyy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E$2:$E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128C-480F-B615-8A57A5360C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5.2993163662522803E-2"/>
          <c:y val="8.2755886458560898E-2"/>
          <c:w val="0.87255113703203302"/>
          <c:h val="0.7187849312953530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629-4B6C-BA4C-1FA3C611AA91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629-4B6C-BA4C-1FA3C611AA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29-4B6C-BA4C-1FA3C611AA91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29-4B6C-BA4C-1FA3C611AA91}"/>
              </c:ext>
            </c:extLst>
          </c:dPt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29-4B6C-BA4C-1FA3C611AA9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29-4B6C-BA4C-1FA3C611AA9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629-4B6C-BA4C-1FA3C611AA9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629-4B6C-BA4C-1FA3C611AA91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629-4B6C-BA4C-1FA3C611AA9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629-4B6C-BA4C-1FA3C611AA9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434-4498-9C12-1C2CE627FB6E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34-4498-9C12-1C2CE627FB6E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1EC-4B58-9320-8B2F91D2DE44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B0-45AD-8418-5129DCFA0658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629-4B6C-BA4C-1FA3C611AA9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629-4B6C-BA4C-1FA3C611AA91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434-4498-9C12-1C2CE627FB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.00%</c:formatCode>
                <c:ptCount val="39"/>
                <c:pt idx="0">
                  <c:v>1</c:v>
                </c:pt>
                <c:pt idx="1">
                  <c:v>9.75</c:v>
                </c:pt>
                <c:pt idx="2">
                  <c:v>0.81395348837209303</c:v>
                </c:pt>
                <c:pt idx="3">
                  <c:v>0.42307692307692307</c:v>
                </c:pt>
                <c:pt idx="4">
                  <c:v>0.40540540540540543</c:v>
                </c:pt>
                <c:pt idx="5">
                  <c:v>0.14743589743589744</c:v>
                </c:pt>
                <c:pt idx="6">
                  <c:v>0.35754189944134079</c:v>
                </c:pt>
                <c:pt idx="7">
                  <c:v>7.407407407407407E-2</c:v>
                </c:pt>
                <c:pt idx="8">
                  <c:v>3.8314176245210725E-2</c:v>
                </c:pt>
                <c:pt idx="9">
                  <c:v>0.28782287822878228</c:v>
                </c:pt>
                <c:pt idx="10">
                  <c:v>3.7249283667621778E-2</c:v>
                </c:pt>
                <c:pt idx="11">
                  <c:v>2.4861878453038673E-2</c:v>
                </c:pt>
                <c:pt idx="12">
                  <c:v>3.2345013477088951E-2</c:v>
                </c:pt>
                <c:pt idx="13">
                  <c:v>1.5665796344647518E-2</c:v>
                </c:pt>
                <c:pt idx="14">
                  <c:v>1.0282776349614395E-2</c:v>
                </c:pt>
                <c:pt idx="15">
                  <c:v>7.6335877862595417E-3</c:v>
                </c:pt>
                <c:pt idx="16">
                  <c:v>7.575757575757576E-3</c:v>
                </c:pt>
                <c:pt idx="17">
                  <c:v>5.0125313283208017E-3</c:v>
                </c:pt>
                <c:pt idx="18">
                  <c:v>2.4937655860349127E-3</c:v>
                </c:pt>
                <c:pt idx="19">
                  <c:v>2.736318407960199E-2</c:v>
                </c:pt>
                <c:pt idx="20">
                  <c:v>2.6634382566585957E-2</c:v>
                </c:pt>
                <c:pt idx="21">
                  <c:v>1.4150943396226415E-2</c:v>
                </c:pt>
                <c:pt idx="22">
                  <c:v>3.0232558139534883E-2</c:v>
                </c:pt>
                <c:pt idx="23">
                  <c:v>1.3544018058690745E-2</c:v>
                </c:pt>
                <c:pt idx="24">
                  <c:v>1.3363028953229399E-2</c:v>
                </c:pt>
                <c:pt idx="25">
                  <c:v>1.7582417582417582E-2</c:v>
                </c:pt>
                <c:pt idx="26">
                  <c:v>1.079913606911447E-2</c:v>
                </c:pt>
                <c:pt idx="27">
                  <c:v>1.0683760683760684E-2</c:v>
                </c:pt>
                <c:pt idx="28">
                  <c:v>1.4799154334038054E-2</c:v>
                </c:pt>
                <c:pt idx="29">
                  <c:v>1.2500000000000001E-2</c:v>
                </c:pt>
                <c:pt idx="30">
                  <c:v>1.0288065843621399E-2</c:v>
                </c:pt>
                <c:pt idx="31">
                  <c:v>8.1466395112016286E-3</c:v>
                </c:pt>
                <c:pt idx="32">
                  <c:v>1.8181818181818181E-2</c:v>
                </c:pt>
                <c:pt idx="33">
                  <c:v>5.9523809523809521E-3</c:v>
                </c:pt>
                <c:pt idx="34">
                  <c:v>1.7751479289940829E-2</c:v>
                </c:pt>
                <c:pt idx="35">
                  <c:v>3.875968992248062E-3</c:v>
                </c:pt>
                <c:pt idx="36">
                  <c:v>1.9305019305019305E-3</c:v>
                </c:pt>
                <c:pt idx="37">
                  <c:v>1.9267822736030828E-3</c:v>
                </c:pt>
                <c:pt idx="38">
                  <c:v>1.923076923076923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4629-4B6C-BA4C-1FA3C611AA91}"/>
            </c:ext>
          </c:extLst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434-4498-9C12-1C2CE627FB6E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434-4498-9C12-1C2CE627FB6E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434-4498-9C12-1C2CE627FB6E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434-4498-9C12-1C2CE627FB6E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434-4498-9C12-1C2CE627FB6E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434-4498-9C12-1C2CE627FB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.00%</c:formatCode>
                <c:ptCount val="39"/>
                <c:pt idx="0">
                  <c:v>0</c:v>
                </c:pt>
                <c:pt idx="1">
                  <c:v>8.75</c:v>
                </c:pt>
                <c:pt idx="2">
                  <c:v>-0.26535480023852115</c:v>
                </c:pt>
                <c:pt idx="3">
                  <c:v>-5.7142857142857141E-2</c:v>
                </c:pt>
                <c:pt idx="4">
                  <c:v>0.36363636363636365</c:v>
                </c:pt>
                <c:pt idx="5">
                  <c:v>-0.48888888888888887</c:v>
                </c:pt>
                <c:pt idx="6">
                  <c:v>1.7826086956521738</c:v>
                </c:pt>
                <c:pt idx="7">
                  <c:v>-0.71875</c:v>
                </c:pt>
                <c:pt idx="8">
                  <c:v>-0.44444444444444442</c:v>
                </c:pt>
                <c:pt idx="9">
                  <c:v>6.8</c:v>
                </c:pt>
                <c:pt idx="10">
                  <c:v>-0.83333333333333337</c:v>
                </c:pt>
                <c:pt idx="11">
                  <c:v>-0.30769230769230771</c:v>
                </c:pt>
                <c:pt idx="12">
                  <c:v>0.33333333333333331</c:v>
                </c:pt>
                <c:pt idx="13">
                  <c:v>-0.5</c:v>
                </c:pt>
                <c:pt idx="14">
                  <c:v>-0.33333333333333331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31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453</c:v>
                </c:pt>
                <c:pt idx="22">
                  <c:v>1.1666666666666667</c:v>
                </c:pt>
                <c:pt idx="23">
                  <c:v>-0.53846153846153844</c:v>
                </c:pt>
                <c:pt idx="24">
                  <c:v>0</c:v>
                </c:pt>
                <c:pt idx="25">
                  <c:v>0.33333333333333331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285</c:v>
                </c:pt>
                <c:pt idx="30">
                  <c:v>-0.16666666666666666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663</c:v>
                </c:pt>
                <c:pt idx="34">
                  <c:v>2</c:v>
                </c:pt>
                <c:pt idx="35">
                  <c:v>-0.77777777777777779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270544527004499"/>
          <c:y val="0.13109854450011901"/>
          <c:w val="0.79008206720638796"/>
          <c:h val="0.56088069673108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B-4251-8048-EC674C7F87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5B-4251-8048-EC674C7F87B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</c:formatCode>
                <c:ptCount val="39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32</c:v>
                </c:pt>
                <c:pt idx="6">
                  <c:v>34.714285714285715</c:v>
                </c:pt>
                <c:pt idx="7">
                  <c:v>32.625</c:v>
                </c:pt>
                <c:pt idx="8">
                  <c:v>30.111111111111111</c:v>
                </c:pt>
                <c:pt idx="9">
                  <c:v>34.9</c:v>
                </c:pt>
                <c:pt idx="10">
                  <c:v>32.909090909090907</c:v>
                </c:pt>
                <c:pt idx="11">
                  <c:v>30.916666666666668</c:v>
                </c:pt>
                <c:pt idx="12">
                  <c:v>29.46153846153846</c:v>
                </c:pt>
                <c:pt idx="13">
                  <c:v>27.785714285714285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16</c:v>
                </c:pt>
                <c:pt idx="17">
                  <c:v>22.277777777777779</c:v>
                </c:pt>
                <c:pt idx="18">
                  <c:v>21.157894736842106</c:v>
                </c:pt>
                <c:pt idx="19">
                  <c:v>20.7</c:v>
                </c:pt>
                <c:pt idx="20">
                  <c:v>20.238095238095237</c:v>
                </c:pt>
                <c:pt idx="21">
                  <c:v>19.59090909090909</c:v>
                </c:pt>
                <c:pt idx="22">
                  <c:v>19.304347826086957</c:v>
                </c:pt>
                <c:pt idx="23">
                  <c:v>18.75</c:v>
                </c:pt>
                <c:pt idx="24">
                  <c:v>18.239999999999998</c:v>
                </c:pt>
                <c:pt idx="25">
                  <c:v>17.846153846153847</c:v>
                </c:pt>
                <c:pt idx="26">
                  <c:v>17.37037037037037</c:v>
                </c:pt>
                <c:pt idx="27">
                  <c:v>16.928571428571427</c:v>
                </c:pt>
                <c:pt idx="28">
                  <c:v>16.586206896551722</c:v>
                </c:pt>
                <c:pt idx="29">
                  <c:v>16.233333333333334</c:v>
                </c:pt>
                <c:pt idx="30">
                  <c:v>15.870967741935484</c:v>
                </c:pt>
                <c:pt idx="31">
                  <c:v>15.5</c:v>
                </c:pt>
                <c:pt idx="32">
                  <c:v>15.303030303030303</c:v>
                </c:pt>
                <c:pt idx="33">
                  <c:v>14.941176470588236</c:v>
                </c:pt>
                <c:pt idx="34">
                  <c:v>14.771428571428572</c:v>
                </c:pt>
                <c:pt idx="35">
                  <c:v>14.388888888888889</c:v>
                </c:pt>
                <c:pt idx="36">
                  <c:v>14.027027027027026</c:v>
                </c:pt>
                <c:pt idx="37">
                  <c:v>13.684210526315789</c:v>
                </c:pt>
                <c:pt idx="38">
                  <c:v>13.358974358974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layout>
            <c:manualLayout>
              <c:xMode val="edge"/>
              <c:yMode val="edge"/>
              <c:x val="0.35273464936601201"/>
              <c:y val="0.760680028632784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60512"/>
        <c:crosses val="autoZero"/>
        <c:auto val="0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297"/>
          <c:w val="1"/>
          <c:h val="0.164653304700549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.0</c:formatCode>
                <c:ptCount val="39"/>
                <c:pt idx="0">
                  <c:v>0.5</c:v>
                </c:pt>
                <c:pt idx="1">
                  <c:v>2.4285714285714284</c:v>
                </c:pt>
                <c:pt idx="2">
                  <c:v>4.4285714285714288</c:v>
                </c:pt>
                <c:pt idx="3">
                  <c:v>3.1428571428571428</c:v>
                </c:pt>
                <c:pt idx="4">
                  <c:v>4.4285714285714288</c:v>
                </c:pt>
                <c:pt idx="5">
                  <c:v>0.8571428571428571</c:v>
                </c:pt>
                <c:pt idx="6">
                  <c:v>1.4285714285714286</c:v>
                </c:pt>
                <c:pt idx="7">
                  <c:v>0.5714285714285714</c:v>
                </c:pt>
                <c:pt idx="8">
                  <c:v>1.1428571428571428</c:v>
                </c:pt>
                <c:pt idx="9">
                  <c:v>6.5714285714285712</c:v>
                </c:pt>
                <c:pt idx="10">
                  <c:v>1.4285714285714286</c:v>
                </c:pt>
                <c:pt idx="11">
                  <c:v>1.2857142857142858</c:v>
                </c:pt>
                <c:pt idx="12">
                  <c:v>1.5714285714285714</c:v>
                </c:pt>
                <c:pt idx="13">
                  <c:v>0.7142857142857143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2857142857142857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1428571428571428</c:v>
                </c:pt>
                <c:pt idx="20">
                  <c:v>1</c:v>
                </c:pt>
                <c:pt idx="21">
                  <c:v>0.8571428571428571</c:v>
                </c:pt>
                <c:pt idx="22">
                  <c:v>1.1428571428571428</c:v>
                </c:pt>
                <c:pt idx="23">
                  <c:v>0.7142857142857143</c:v>
                </c:pt>
                <c:pt idx="24">
                  <c:v>0.42857142857142855</c:v>
                </c:pt>
                <c:pt idx="25">
                  <c:v>0.8571428571428571</c:v>
                </c:pt>
                <c:pt idx="26">
                  <c:v>0.2857142857142857</c:v>
                </c:pt>
                <c:pt idx="27">
                  <c:v>0.5714285714285714</c:v>
                </c:pt>
                <c:pt idx="28">
                  <c:v>0.8571428571428571</c:v>
                </c:pt>
                <c:pt idx="29">
                  <c:v>0.42857142857142855</c:v>
                </c:pt>
                <c:pt idx="30">
                  <c:v>0.5714285714285714</c:v>
                </c:pt>
                <c:pt idx="31">
                  <c:v>0.5714285714285714</c:v>
                </c:pt>
                <c:pt idx="32">
                  <c:v>1.1428571428571428</c:v>
                </c:pt>
                <c:pt idx="33">
                  <c:v>0.2857142857142857</c:v>
                </c:pt>
                <c:pt idx="34">
                  <c:v>0.7142857142857143</c:v>
                </c:pt>
                <c:pt idx="35">
                  <c:v>0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E0-4838-AA27-1BC4E176B7F4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.0</c:formatCode>
                <c:ptCount val="39"/>
                <c:pt idx="0">
                  <c:v>1</c:v>
                </c:pt>
                <c:pt idx="1">
                  <c:v>1.4285714285714286</c:v>
                </c:pt>
                <c:pt idx="2">
                  <c:v>0.2857142857142857</c:v>
                </c:pt>
                <c:pt idx="3">
                  <c:v>0.5714285714285714</c:v>
                </c:pt>
                <c:pt idx="4">
                  <c:v>1.2857142857142858</c:v>
                </c:pt>
                <c:pt idx="5">
                  <c:v>1</c:v>
                </c:pt>
                <c:pt idx="6">
                  <c:v>5.8571428571428568</c:v>
                </c:pt>
                <c:pt idx="7">
                  <c:v>0.8571428571428571</c:v>
                </c:pt>
                <c:pt idx="8">
                  <c:v>0.14285714285714285</c:v>
                </c:pt>
                <c:pt idx="9">
                  <c:v>1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57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285</c:v>
                </c:pt>
                <c:pt idx="25">
                  <c:v>0.14285714285714285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.14285714285714285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28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E0-4838-AA27-1BC4E176B7F4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G$2:$G$40</c:f>
              <c:numCache>
                <c:formatCode>0.0</c:formatCode>
                <c:ptCount val="39"/>
                <c:pt idx="0">
                  <c:v>0.5</c:v>
                </c:pt>
                <c:pt idx="1">
                  <c:v>1.7142857142857142</c:v>
                </c:pt>
                <c:pt idx="2">
                  <c:v>0.2857142857142857</c:v>
                </c:pt>
                <c:pt idx="3">
                  <c:v>1</c:v>
                </c:pt>
                <c:pt idx="4">
                  <c:v>0.7142857142857143</c:v>
                </c:pt>
                <c:pt idx="5">
                  <c:v>1.4285714285714286</c:v>
                </c:pt>
                <c:pt idx="6">
                  <c:v>1.8571428571428572</c:v>
                </c:pt>
                <c:pt idx="7">
                  <c:v>1.1428571428571428</c:v>
                </c:pt>
                <c:pt idx="8">
                  <c:v>0.14285714285714285</c:v>
                </c:pt>
                <c:pt idx="9">
                  <c:v>3.5714285714285716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.14285714285714285</c:v>
                </c:pt>
                <c:pt idx="14">
                  <c:v>0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</c:v>
                </c:pt>
                <c:pt idx="19">
                  <c:v>0.5714285714285714</c:v>
                </c:pt>
                <c:pt idx="20">
                  <c:v>0.2857142857142857</c:v>
                </c:pt>
                <c:pt idx="21">
                  <c:v>0</c:v>
                </c:pt>
                <c:pt idx="22">
                  <c:v>0.7142857142857143</c:v>
                </c:pt>
                <c:pt idx="23">
                  <c:v>0.14285714285714285</c:v>
                </c:pt>
                <c:pt idx="24">
                  <c:v>0.2857142857142857</c:v>
                </c:pt>
                <c:pt idx="25">
                  <c:v>0.14285714285714285</c:v>
                </c:pt>
                <c:pt idx="26">
                  <c:v>0.2857142857142857</c:v>
                </c:pt>
                <c:pt idx="27">
                  <c:v>0.14285714285714285</c:v>
                </c:pt>
                <c:pt idx="28">
                  <c:v>0.14285714285714285</c:v>
                </c:pt>
                <c:pt idx="29">
                  <c:v>0.2857142857142857</c:v>
                </c:pt>
                <c:pt idx="30">
                  <c:v>0.14285714285714285</c:v>
                </c:pt>
                <c:pt idx="31">
                  <c:v>0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4285714285714285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H$2:$H$40</c:f>
              <c:numCache>
                <c:formatCode>0</c:formatCode>
                <c:ptCount val="39"/>
                <c:pt idx="0">
                  <c:v>2</c:v>
                </c:pt>
                <c:pt idx="1">
                  <c:v>5.5714285714285712</c:v>
                </c:pt>
                <c:pt idx="2">
                  <c:v>5</c:v>
                </c:pt>
                <c:pt idx="3">
                  <c:v>4.7142857142857144</c:v>
                </c:pt>
                <c:pt idx="4">
                  <c:v>6.4285714285714288</c:v>
                </c:pt>
                <c:pt idx="5">
                  <c:v>3.2857142857142856</c:v>
                </c:pt>
                <c:pt idx="6">
                  <c:v>9.1428571428571423</c:v>
                </c:pt>
                <c:pt idx="7">
                  <c:v>2.5714285714285712</c:v>
                </c:pt>
                <c:pt idx="8">
                  <c:v>1.4285714285714284</c:v>
                </c:pt>
                <c:pt idx="9">
                  <c:v>11.142857142857142</c:v>
                </c:pt>
                <c:pt idx="10">
                  <c:v>1.8571428571428572</c:v>
                </c:pt>
                <c:pt idx="11">
                  <c:v>1.2857142857142858</c:v>
                </c:pt>
                <c:pt idx="12">
                  <c:v>1.7142857142857142</c:v>
                </c:pt>
                <c:pt idx="13">
                  <c:v>0.85714285714285721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42857142857142855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7142857142857142</c:v>
                </c:pt>
                <c:pt idx="20">
                  <c:v>1.5714285714285712</c:v>
                </c:pt>
                <c:pt idx="21">
                  <c:v>0.8571428571428571</c:v>
                </c:pt>
                <c:pt idx="22">
                  <c:v>1.8571428571428572</c:v>
                </c:pt>
                <c:pt idx="23">
                  <c:v>0.85714285714285721</c:v>
                </c:pt>
                <c:pt idx="24">
                  <c:v>0.8571428571428571</c:v>
                </c:pt>
                <c:pt idx="25">
                  <c:v>1.1428571428571428</c:v>
                </c:pt>
                <c:pt idx="26">
                  <c:v>0.71428571428571419</c:v>
                </c:pt>
                <c:pt idx="27">
                  <c:v>0.71428571428571419</c:v>
                </c:pt>
                <c:pt idx="28">
                  <c:v>1</c:v>
                </c:pt>
                <c:pt idx="29">
                  <c:v>0.8571428571428571</c:v>
                </c:pt>
                <c:pt idx="30">
                  <c:v>0.71428571428571419</c:v>
                </c:pt>
                <c:pt idx="31">
                  <c:v>0.5714285714285714</c:v>
                </c:pt>
                <c:pt idx="32">
                  <c:v>1.2857142857142856</c:v>
                </c:pt>
                <c:pt idx="33">
                  <c:v>0.42857142857142855</c:v>
                </c:pt>
                <c:pt idx="34">
                  <c:v>1.2857142857142858</c:v>
                </c:pt>
                <c:pt idx="35">
                  <c:v>0.2857142857142857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5024"/>
        <c:crosses val="autoZero"/>
        <c:auto val="0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68-4DDD-B1F9-9BE7E623E1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68-4DDD-B1F9-9BE7E623E15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B0CA9D6-39AC-4F8E-AEEA-D602F4E66440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43CBCA2-C947-4E9F-8D45-5298CA134CC5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68-4DDD-B1F9-9BE7E623E1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fld id="{87A68093-45A6-4F7C-B4AA-A89625285ABC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38B3C2E-7319-4B01-90FA-48723D578359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1.9318181818181819</c:v>
                </c:pt>
                <c:pt idx="2">
                  <c:v>0.43798449612403101</c:v>
                </c:pt>
                <c:pt idx="3">
                  <c:v>7.277628032345014E-2</c:v>
                </c:pt>
                <c:pt idx="4">
                  <c:v>6.5326633165829151E-2</c:v>
                </c:pt>
                <c:pt idx="5">
                  <c:v>7.5471698113207544E-2</c:v>
                </c:pt>
                <c:pt idx="6">
                  <c:v>5.921052631578947E-2</c:v>
                </c:pt>
                <c:pt idx="7">
                  <c:v>4.9689440993788817E-2</c:v>
                </c:pt>
                <c:pt idx="8">
                  <c:v>2.564102564102564E-2</c:v>
                </c:pt>
                <c:pt idx="9">
                  <c:v>1.923076923076923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768-4DDD-B1F9-9BE7E623E15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93181818181818177</c:v>
                </c:pt>
                <c:pt idx="2">
                  <c:v>-0.3352941176470588</c:v>
                </c:pt>
                <c:pt idx="3">
                  <c:v>-0.76106194690265483</c:v>
                </c:pt>
                <c:pt idx="4">
                  <c:v>-3.7037037037037035E-2</c:v>
                </c:pt>
                <c:pt idx="5">
                  <c:v>0.23076923076923078</c:v>
                </c:pt>
                <c:pt idx="6">
                  <c:v>-0.15625</c:v>
                </c:pt>
                <c:pt idx="7">
                  <c:v>-0.1111111111111111</c:v>
                </c:pt>
                <c:pt idx="8">
                  <c:v>-0.45833333333333331</c:v>
                </c:pt>
                <c:pt idx="9">
                  <c:v>-0.923076923076923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none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AB-4177-8E9F-A81FB5EB0C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AB-4177-8E9F-A81FB5EB0C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37-442C-8F0C-59A3094E9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AB-4177-8E9F-A81FB5EB0C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11"/>
              <c:layout>
                <c:manualLayout>
                  <c:x val="-4.95392724481373E-2"/>
                  <c:y val="-3.5087727376646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8AB-4177-8E9F-A81FB5EB0CF9}"/>
                </c:ext>
              </c:extLst>
            </c:dLbl>
            <c:dLbl>
              <c:idx val="15"/>
              <c:layout>
                <c:manualLayout>
                  <c:x val="-4.6931942319288003E-2"/>
                  <c:y val="-1.75438636883234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8AB-4177-8E9F-A81FB5EB0C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.00%</c:formatCode>
                <c:ptCount val="39"/>
                <c:pt idx="0">
                  <c:v>0</c:v>
                </c:pt>
                <c:pt idx="1">
                  <c:v>6.875</c:v>
                </c:pt>
                <c:pt idx="2">
                  <c:v>0.44444444444444442</c:v>
                </c:pt>
                <c:pt idx="3">
                  <c:v>0.24175824175824176</c:v>
                </c:pt>
                <c:pt idx="4">
                  <c:v>0.36283185840707965</c:v>
                </c:pt>
                <c:pt idx="5">
                  <c:v>0.25974025974025972</c:v>
                </c:pt>
                <c:pt idx="6">
                  <c:v>0.13917525773195877</c:v>
                </c:pt>
                <c:pt idx="7">
                  <c:v>9.0497737556561084E-2</c:v>
                </c:pt>
                <c:pt idx="8">
                  <c:v>0.19917012448132779</c:v>
                </c:pt>
                <c:pt idx="9">
                  <c:v>0.53287197231833905</c:v>
                </c:pt>
                <c:pt idx="10">
                  <c:v>5.1918735891647853E-2</c:v>
                </c:pt>
                <c:pt idx="11">
                  <c:v>5.7939914163090127E-2</c:v>
                </c:pt>
                <c:pt idx="12">
                  <c:v>3.9175257731958762E-2</c:v>
                </c:pt>
                <c:pt idx="13">
                  <c:v>4.6770601336302897E-2</c:v>
                </c:pt>
                <c:pt idx="14">
                  <c:v>4.2986425339366516E-2</c:v>
                </c:pt>
                <c:pt idx="15">
                  <c:v>3.4168564920273349E-2</c:v>
                </c:pt>
                <c:pt idx="16">
                  <c:v>4.1162227602905568E-2</c:v>
                </c:pt>
                <c:pt idx="17">
                  <c:v>6.4102564102564097E-2</c:v>
                </c:pt>
                <c:pt idx="18">
                  <c:v>2.3195876288659795E-2</c:v>
                </c:pt>
                <c:pt idx="19">
                  <c:v>0.10079575596816977</c:v>
                </c:pt>
                <c:pt idx="20">
                  <c:v>0.10626702997275204</c:v>
                </c:pt>
                <c:pt idx="21">
                  <c:v>9.5238095238095233E-2</c:v>
                </c:pt>
                <c:pt idx="22">
                  <c:v>0.11067193675889328</c:v>
                </c:pt>
                <c:pt idx="23">
                  <c:v>9.055118110236221E-2</c:v>
                </c:pt>
                <c:pt idx="24">
                  <c:v>0.10852713178294573</c:v>
                </c:pt>
                <c:pt idx="25">
                  <c:v>7.9245283018867921E-2</c:v>
                </c:pt>
                <c:pt idx="26">
                  <c:v>5.2434456928838954E-2</c:v>
                </c:pt>
                <c:pt idx="27">
                  <c:v>5.2631578947368418E-2</c:v>
                </c:pt>
                <c:pt idx="28">
                  <c:v>6.0836501901140684E-2</c:v>
                </c:pt>
                <c:pt idx="29">
                  <c:v>9.8425196850393706E-2</c:v>
                </c:pt>
                <c:pt idx="30">
                  <c:v>6.6666666666666666E-2</c:v>
                </c:pt>
                <c:pt idx="31">
                  <c:v>0.08</c:v>
                </c:pt>
                <c:pt idx="32">
                  <c:v>0.12987012987012986</c:v>
                </c:pt>
                <c:pt idx="33">
                  <c:v>8.4388185654008435E-2</c:v>
                </c:pt>
                <c:pt idx="34">
                  <c:v>0.13100436681222707</c:v>
                </c:pt>
                <c:pt idx="35">
                  <c:v>8.050847457627118E-2</c:v>
                </c:pt>
                <c:pt idx="36">
                  <c:v>6.1674008810572688E-2</c:v>
                </c:pt>
                <c:pt idx="37">
                  <c:v>5.4545454545454543E-2</c:v>
                </c:pt>
                <c:pt idx="38">
                  <c:v>0.114678899082568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8AB-4177-8E9F-A81FB5EB0CF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12"/>
              <c:layout>
                <c:manualLayout>
                  <c:x val="-5.08429375125619E-2"/>
                  <c:y val="-3.80117046580338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8AB-4177-8E9F-A81FB5EB0CF9}"/>
                </c:ext>
              </c:extLst>
            </c:dLbl>
            <c:dLbl>
              <c:idx val="13"/>
              <c:layout>
                <c:manualLayout>
                  <c:x val="-5.3450267641411302E-2"/>
                  <c:y val="-2.92397728138724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8AB-4177-8E9F-A81FB5EB0CF9}"/>
                </c:ext>
              </c:extLst>
            </c:dLbl>
            <c:dLbl>
              <c:idx val="14"/>
              <c:layout>
                <c:manualLayout>
                  <c:x val="-5.4753932705835902E-2"/>
                  <c:y val="-4.67836365021956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8AB-4177-8E9F-A81FB5EB0CF9}"/>
                </c:ext>
              </c:extLst>
            </c:dLbl>
            <c:dLbl>
              <c:idx val="16"/>
              <c:layout>
                <c:manualLayout>
                  <c:x val="-5.6057597770260502E-2"/>
                  <c:y val="-4.09356819394212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8AB-4177-8E9F-A81FB5EB0C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.00%</c:formatCode>
                <c:ptCount val="39"/>
                <c:pt idx="0">
                  <c:v>0</c:v>
                </c:pt>
                <c:pt idx="1">
                  <c:v>5.875</c:v>
                </c:pt>
                <c:pt idx="2">
                  <c:v>-0.49090909090909091</c:v>
                </c:pt>
                <c:pt idx="3">
                  <c:v>-0.21428571428571427</c:v>
                </c:pt>
                <c:pt idx="4">
                  <c:v>0.86363636363636365</c:v>
                </c:pt>
                <c:pt idx="5">
                  <c:v>-2.4390243902439025E-2</c:v>
                </c:pt>
                <c:pt idx="6">
                  <c:v>-0.32500000000000001</c:v>
                </c:pt>
                <c:pt idx="7">
                  <c:v>-0.25925925925925924</c:v>
                </c:pt>
                <c:pt idx="8">
                  <c:v>1.4</c:v>
                </c:pt>
                <c:pt idx="9">
                  <c:v>2.2083333333333335</c:v>
                </c:pt>
                <c:pt idx="10">
                  <c:v>-0.85064935064935066</c:v>
                </c:pt>
                <c:pt idx="11">
                  <c:v>0.17391304347826086</c:v>
                </c:pt>
                <c:pt idx="12">
                  <c:v>-0.29629629629629628</c:v>
                </c:pt>
                <c:pt idx="13">
                  <c:v>0.10526315789473684</c:v>
                </c:pt>
                <c:pt idx="14">
                  <c:v>-9.5238095238095233E-2</c:v>
                </c:pt>
                <c:pt idx="15">
                  <c:v>-0.21052631578947367</c:v>
                </c:pt>
                <c:pt idx="16">
                  <c:v>0.13333333333333333</c:v>
                </c:pt>
                <c:pt idx="17">
                  <c:v>0.47058823529411764</c:v>
                </c:pt>
                <c:pt idx="18">
                  <c:v>-0.64</c:v>
                </c:pt>
                <c:pt idx="19">
                  <c:v>3.2222222222222223</c:v>
                </c:pt>
                <c:pt idx="20">
                  <c:v>2.6315789473684209E-2</c:v>
                </c:pt>
                <c:pt idx="21">
                  <c:v>-0.38461538461538464</c:v>
                </c:pt>
                <c:pt idx="22">
                  <c:v>0.16666666666666666</c:v>
                </c:pt>
                <c:pt idx="23">
                  <c:v>-0.17857142857142858</c:v>
                </c:pt>
                <c:pt idx="24">
                  <c:v>0.21739130434782608</c:v>
                </c:pt>
                <c:pt idx="25">
                  <c:v>-0.25</c:v>
                </c:pt>
                <c:pt idx="26">
                  <c:v>-0.33333333333333331</c:v>
                </c:pt>
                <c:pt idx="27">
                  <c:v>0</c:v>
                </c:pt>
                <c:pt idx="28">
                  <c:v>0.14285714285714285</c:v>
                </c:pt>
                <c:pt idx="29">
                  <c:v>0.5625</c:v>
                </c:pt>
                <c:pt idx="30">
                  <c:v>-0.28000000000000003</c:v>
                </c:pt>
                <c:pt idx="31">
                  <c:v>0.1111111111111111</c:v>
                </c:pt>
                <c:pt idx="32">
                  <c:v>0.5</c:v>
                </c:pt>
                <c:pt idx="33">
                  <c:v>-0.33333333333333331</c:v>
                </c:pt>
                <c:pt idx="34">
                  <c:v>0.5</c:v>
                </c:pt>
                <c:pt idx="35">
                  <c:v>-0.36666666666666664</c:v>
                </c:pt>
                <c:pt idx="36">
                  <c:v>-0.26315789473684209</c:v>
                </c:pt>
                <c:pt idx="37">
                  <c:v>-0.14285714285714285</c:v>
                </c:pt>
                <c:pt idx="38">
                  <c:v>1.0833333333333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8AB-4177-8E9F-A81FB5EB0C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8F-43ED-BF12-92B4B3ED5E5F}"/>
              </c:ext>
            </c:extLst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8F-43ED-BF12-92B4B3ED5E5F}"/>
              </c:ext>
            </c:extLst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8F-43ED-BF12-92B4B3ED5E5F}"/>
              </c:ext>
            </c:extLst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  <a:endParaRPr lang="zh-CN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6</c:v>
                </c:pt>
                <c:pt idx="1">
                  <c:v>98</c:v>
                </c:pt>
                <c:pt idx="2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8F-43ED-BF12-92B4B3ED5E5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8546562094759903E-2"/>
          <c:y val="9.4451790198510299E-2"/>
          <c:w val="0.88298045754743004"/>
          <c:h val="0.718784931295353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B$3:$B$40</c:f>
              <c:numCache>
                <c:formatCode>General</c:formatCode>
                <c:ptCount val="3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93-4FAE-8130-A46FF93EC7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C$3:$C$40</c:f>
              <c:numCache>
                <c:formatCode>General</c:formatCode>
                <c:ptCount val="38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93-4FAE-8130-A46FF93EC72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493-4FAE-8130-A46FF93EC721}"/>
              </c:ext>
            </c:extLst>
          </c:dPt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D$3:$D$40</c:f>
              <c:numCache>
                <c:formatCode>General</c:formatCode>
                <c:ptCount val="3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93-4FAE-8130-A46FF93EC72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E$3:$E$40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93-4FAE-8130-A46FF93EC72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F$3:$F$40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G$3:$G$40</c:f>
              <c:numCache>
                <c:formatCode>0.00%</c:formatCode>
                <c:ptCount val="38"/>
                <c:pt idx="0" formatCode="0%">
                  <c:v>#N/A</c:v>
                </c:pt>
                <c:pt idx="1">
                  <c:v>0</c:v>
                </c:pt>
                <c:pt idx="2">
                  <c:v>0.125</c:v>
                </c:pt>
                <c:pt idx="3">
                  <c:v>0.1111111111111111</c:v>
                </c:pt>
                <c:pt idx="4">
                  <c:v>0</c:v>
                </c:pt>
                <c:pt idx="5">
                  <c:v>0</c:v>
                </c:pt>
                <c:pt idx="6">
                  <c:v>0.1</c:v>
                </c:pt>
                <c:pt idx="7">
                  <c:v>9.0909090909090912E-2</c:v>
                </c:pt>
                <c:pt idx="8">
                  <c:v>0.75</c:v>
                </c:pt>
                <c:pt idx="9">
                  <c:v>9.5238095238095233E-2</c:v>
                </c:pt>
                <c:pt idx="10">
                  <c:v>0</c:v>
                </c:pt>
                <c:pt idx="11">
                  <c:v>4.3478260869565216E-2</c:v>
                </c:pt>
                <c:pt idx="12">
                  <c:v>0</c:v>
                </c:pt>
                <c:pt idx="13">
                  <c:v>8.3333333333333329E-2</c:v>
                </c:pt>
                <c:pt idx="14">
                  <c:v>0</c:v>
                </c:pt>
                <c:pt idx="15">
                  <c:v>0</c:v>
                </c:pt>
                <c:pt idx="16">
                  <c:v>7.6923076923076927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3.5714285714285712E-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493-4FAE-8130-A46FF93EC72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H$3:$H$40</c:f>
              <c:numCache>
                <c:formatCode>0.00%</c:formatCode>
                <c:ptCount val="38"/>
                <c:pt idx="0" formatCode="General">
                  <c:v>#N/A</c:v>
                </c:pt>
                <c:pt idx="1">
                  <c:v>#N/A</c:v>
                </c:pt>
                <c:pt idx="2">
                  <c:v>0</c:v>
                </c:pt>
                <c:pt idx="3">
                  <c:v>-1.2345679012345635E-2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  <c:pt idx="7">
                  <c:v>-8.2644628099175083E-3</c:v>
                </c:pt>
                <c:pt idx="8">
                  <c:v>7.9375000000000018</c:v>
                </c:pt>
                <c:pt idx="9">
                  <c:v>-0.78510378510378509</c:v>
                </c:pt>
                <c:pt idx="10">
                  <c:v>-1</c:v>
                </c:pt>
                <c:pt idx="11">
                  <c:v>0</c:v>
                </c:pt>
                <c:pt idx="12">
                  <c:v>-1</c:v>
                </c:pt>
                <c:pt idx="13">
                  <c:v>0</c:v>
                </c:pt>
                <c:pt idx="14">
                  <c:v>-1</c:v>
                </c:pt>
                <c:pt idx="15">
                  <c:v>0</c:v>
                </c:pt>
                <c:pt idx="16">
                  <c:v>0</c:v>
                </c:pt>
                <c:pt idx="17">
                  <c:v>-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-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581510415940301"/>
          <c:y val="0.115678480742669"/>
          <c:w val="0.77742429651611999"/>
          <c:h val="0.60018429761497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B$4:$B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5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96-4064-A20A-4B02475774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C$4:$C$40</c:f>
              <c:numCache>
                <c:formatCode>General</c:formatCode>
                <c:ptCount val="37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96-4064-A20A-4B02475774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D$4:$D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96-4064-A20A-4B02475774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E$4:$E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96-4064-A20A-4B02475774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F$4:$F$40</c:f>
              <c:numCache>
                <c:formatCode>General</c:formatCode>
                <c:ptCount val="3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40</c:f>
              <c:strCache>
                <c:ptCount val="37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</c:strCache>
            </c:strRef>
          </c:cat>
          <c:val>
            <c:numRef>
              <c:f>Sheet1!$G$4:$G$40</c:f>
              <c:numCache>
                <c:formatCode>0</c:formatCode>
                <c:ptCount val="37"/>
                <c:pt idx="0">
                  <c:v>2.6666666666666665</c:v>
                </c:pt>
                <c:pt idx="1">
                  <c:v>2.25</c:v>
                </c:pt>
                <c:pt idx="2">
                  <c:v>2</c:v>
                </c:pt>
                <c:pt idx="3">
                  <c:v>1.6666666666666667</c:v>
                </c:pt>
                <c:pt idx="4">
                  <c:v>1.4285714285714286</c:v>
                </c:pt>
                <c:pt idx="5">
                  <c:v>1.375</c:v>
                </c:pt>
                <c:pt idx="6">
                  <c:v>1.3333333333333333</c:v>
                </c:pt>
                <c:pt idx="7">
                  <c:v>2.1</c:v>
                </c:pt>
                <c:pt idx="8">
                  <c:v>2.0909090909090908</c:v>
                </c:pt>
                <c:pt idx="9">
                  <c:v>1.9166666666666667</c:v>
                </c:pt>
                <c:pt idx="10">
                  <c:v>1.8461538461538463</c:v>
                </c:pt>
                <c:pt idx="11">
                  <c:v>1.7142857142857142</c:v>
                </c:pt>
                <c:pt idx="12">
                  <c:v>1.7333333333333334</c:v>
                </c:pt>
                <c:pt idx="13">
                  <c:v>1.625</c:v>
                </c:pt>
                <c:pt idx="14">
                  <c:v>1.5294117647058822</c:v>
                </c:pt>
                <c:pt idx="15">
                  <c:v>1.5555555555555556</c:v>
                </c:pt>
                <c:pt idx="16">
                  <c:v>1.4736842105263157</c:v>
                </c:pt>
                <c:pt idx="17">
                  <c:v>1.4</c:v>
                </c:pt>
                <c:pt idx="18">
                  <c:v>1.3333333333333333</c:v>
                </c:pt>
                <c:pt idx="19">
                  <c:v>1.2727272727272727</c:v>
                </c:pt>
                <c:pt idx="20">
                  <c:v>1.2173913043478262</c:v>
                </c:pt>
                <c:pt idx="21">
                  <c:v>1.1666666666666667</c:v>
                </c:pt>
                <c:pt idx="22">
                  <c:v>1.1200000000000001</c:v>
                </c:pt>
                <c:pt idx="23">
                  <c:v>1.0769230769230769</c:v>
                </c:pt>
                <c:pt idx="24">
                  <c:v>1.0740740740740742</c:v>
                </c:pt>
                <c:pt idx="25">
                  <c:v>1.0357142857142858</c:v>
                </c:pt>
                <c:pt idx="26">
                  <c:v>1</c:v>
                </c:pt>
                <c:pt idx="27">
                  <c:v>0.96666666666666667</c:v>
                </c:pt>
                <c:pt idx="28">
                  <c:v>0.93548387096774188</c:v>
                </c:pt>
                <c:pt idx="29">
                  <c:v>0.90625</c:v>
                </c:pt>
                <c:pt idx="30">
                  <c:v>0.87878787878787878</c:v>
                </c:pt>
                <c:pt idx="31">
                  <c:v>0.8529411764705882</c:v>
                </c:pt>
                <c:pt idx="32">
                  <c:v>0.82857142857142863</c:v>
                </c:pt>
                <c:pt idx="33">
                  <c:v>0.80555555555555558</c:v>
                </c:pt>
                <c:pt idx="34">
                  <c:v>0.78378378378378377</c:v>
                </c:pt>
                <c:pt idx="35">
                  <c:v>0.76315789473684215</c:v>
                </c:pt>
                <c:pt idx="36">
                  <c:v>0.74358974358974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47328"/>
        <c:crosses val="autoZero"/>
        <c:auto val="0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518523606278103E-2"/>
          <c:y val="0.847384307224755"/>
          <c:w val="0.90973386150913904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676004350612601"/>
          <c:y val="0.126498595570291"/>
          <c:w val="0.76982477542419869"/>
          <c:h val="0.569815812497121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G$2:$G$40</c:f>
              <c:numCache>
                <c:formatCode>0.00</c:formatCode>
                <c:ptCount val="39"/>
                <c:pt idx="0">
                  <c:v>1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285</c:v>
                </c:pt>
                <c:pt idx="9">
                  <c:v>0.7142857142857143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A-4D00-A83B-4F05F51C2AA5}"/>
            </c:ext>
          </c:extLst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H$2:$H$40</c:f>
              <c:numCache>
                <c:formatCode>0.00</c:formatCode>
                <c:ptCount val="39"/>
                <c:pt idx="0">
                  <c:v>0</c:v>
                </c:pt>
                <c:pt idx="1">
                  <c:v>0.42857142857142855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</c:v>
                </c:pt>
                <c:pt idx="9">
                  <c:v>0.14285714285714285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6A-4D00-A83B-4F05F51C2AA5}"/>
            </c:ext>
          </c:extLst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I$2:$I$40</c:f>
              <c:numCache>
                <c:formatCode>0.00</c:formatCode>
                <c:ptCount val="39"/>
                <c:pt idx="0">
                  <c:v>0.5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85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6A-4D00-A83B-4F05F51C2AA5}"/>
            </c:ext>
          </c:extLst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J$2:$J$40</c:f>
              <c:numCache>
                <c:formatCode>0.00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6A-4D00-A83B-4F05F51C2AA5}"/>
            </c:ext>
          </c:extLst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K$2:$K$40</c:f>
              <c:numCache>
                <c:formatCode>0.00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6A-4D00-A83B-4F05F51C2AA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6A-4D00-A83B-4F05F51C2AA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6A-4D00-A83B-4F05F51C2AA5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6A-4D00-A83B-4F05F51C2AA5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6A-4D00-A83B-4F05F51C2AA5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6A-4D00-A83B-4F05F51C2AA5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56A-4D00-A83B-4F05F51C2AA5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6A-4D00-A83B-4F05F51C2AA5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C0-418E-80F8-921CEC7EE4B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C0-418E-80F8-921CEC7EE4B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C0-418E-80F8-921CEC7EE4BC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C0-418E-80F8-921CEC7EE4B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C0-418E-80F8-921CEC7EE4B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C0-418E-80F8-921CEC7EE4BC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C0-418E-80F8-921CEC7EE4BC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83-4359-8E9A-E5D7FC8AF566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83-4359-8E9A-E5D7FC8AF566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4B-4E58-ACC1-45D3969CD6C5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4B-4E58-ACC1-45D3969CD6C5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4B-4E58-ACC1-45D3969CD6C5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4B-4E58-ACC1-45D3969CD6C5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4B-4E58-ACC1-45D3969CD6C5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D0-45B0-A504-F6E1BB03519A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D0-45B0-A504-F6E1BB03519A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D0-45B0-A504-F6E1BB03519A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40-4D20-BF43-9B93A03C964A}"/>
                </c:ext>
              </c:extLst>
            </c:dLbl>
            <c:dLbl>
              <c:idx val="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40-4D20-BF43-9B93A03C96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8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</c:strCache>
            </c:strRef>
          </c:cat>
          <c:val>
            <c:numRef>
              <c:f>Sheet1!$L$2:$L$40</c:f>
              <c:numCache>
                <c:formatCode>0.00</c:formatCode>
                <c:ptCount val="39"/>
                <c:pt idx="0">
                  <c:v>1.5</c:v>
                </c:pt>
                <c:pt idx="1">
                  <c:v>0.71428571428571419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.14285714285714285</c:v>
                </c:pt>
                <c:pt idx="9">
                  <c:v>1.2857142857142858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2857142857142857</c:v>
                </c:pt>
                <c:pt idx="15">
                  <c:v>0</c:v>
                </c:pt>
                <c:pt idx="16">
                  <c:v>0</c:v>
                </c:pt>
                <c:pt idx="17">
                  <c:v>0.2857142857142857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/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729472"/>
        <c:crosses val="autoZero"/>
        <c:auto val="0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495"/>
          <c:w val="0.76403178925590198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05"/>
          <c:h val="0.46688833732739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29-4C91-A439-01C4854C94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29-4C91-A439-01C4854C94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29-4C91-A439-01C4854C940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29-4C91-A439-01C4854C9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29-4C91-A439-01C4854C940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29-4C91-A439-01C4854C940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29-4C91-A439-01C4854C940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29-4C91-A439-01C4854C940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F129-4C91-A439-01C4854C940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129-4C91-A439-01C4854C940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129-4C91-A439-01C4854C940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B9-4952-A138-54128CF1BBD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89-4DA2-9751-8AED3B24C8E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71-406C-84E4-98F2E0E05A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129-4C91-A439-01C4854C940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G$2:$G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375</c:v>
                </c:pt>
                <c:pt idx="2">
                  <c:v>1.0909090909090908</c:v>
                </c:pt>
                <c:pt idx="3">
                  <c:v>0.13043478260869565</c:v>
                </c:pt>
                <c:pt idx="4">
                  <c:v>7.6923076923076927E-2</c:v>
                </c:pt>
                <c:pt idx="5">
                  <c:v>0</c:v>
                </c:pt>
                <c:pt idx="6">
                  <c:v>3.5714285714285712E-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129-4C91-A439-01C4854C94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B9-4952-A138-54128CF1BB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H$2:$H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-0.625</c:v>
                </c:pt>
                <c:pt idx="2">
                  <c:v>3</c:v>
                </c:pt>
                <c:pt idx="3">
                  <c:v>-0.75</c:v>
                </c:pt>
                <c:pt idx="4">
                  <c:v>-0.33333333333333331</c:v>
                </c:pt>
                <c:pt idx="5">
                  <c:v>-1</c:v>
                </c:pt>
                <c:pt idx="6">
                  <c:v>0</c:v>
                </c:pt>
                <c:pt idx="7">
                  <c:v>-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1618175913065802"/>
              <c:y val="0.7823370129430640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543495123687704E-2"/>
          <c:y val="0.84406979825429795"/>
          <c:w val="0.78416586815536904"/>
          <c:h val="0.155930332078055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1720020784732502E-2"/>
          <c:y val="0.15454666512274201"/>
          <c:w val="0.86472904399469297"/>
          <c:h val="0.680120812104369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-1.47058823529412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109951932739903E-2"/>
                      <c:h val="3.46201945345067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0.6</c:v>
                </c:pt>
                <c:pt idx="3" formatCode="0.00%">
                  <c:v>0.25</c:v>
                </c:pt>
                <c:pt idx="4" formatCode="0.00%">
                  <c:v>0.6</c:v>
                </c:pt>
                <c:pt idx="5" formatCode="0.00%">
                  <c:v>0</c:v>
                </c:pt>
                <c:pt idx="6" formatCode="0.00%">
                  <c:v>0.25</c:v>
                </c:pt>
                <c:pt idx="7" formatCode="0.00%">
                  <c:v>0.1</c:v>
                </c:pt>
                <c:pt idx="8" formatCode="0.00%">
                  <c:v>4.5454545454545456E-2</c:v>
                </c:pt>
                <c:pt idx="9" formatCode="0.00%">
                  <c:v>0.47826086956521741</c:v>
                </c:pt>
                <c:pt idx="10" formatCode="0.00%">
                  <c:v>0.14705882352941177</c:v>
                </c:pt>
                <c:pt idx="11" formatCode="0.00%">
                  <c:v>5.128205128205128E-2</c:v>
                </c:pt>
                <c:pt idx="12" formatCode="0.00%">
                  <c:v>4.878048780487805E-2</c:v>
                </c:pt>
                <c:pt idx="13" formatCode="0.00%">
                  <c:v>2.3255813953488372E-2</c:v>
                </c:pt>
                <c:pt idx="14" formatCode="0.00%">
                  <c:v>2.2727272727272728E-2</c:v>
                </c:pt>
                <c:pt idx="15" formatCode="0.00%">
                  <c:v>0</c:v>
                </c:pt>
                <c:pt idx="16" formatCode="0.00%">
                  <c:v>2.2222222222222223E-2</c:v>
                </c:pt>
                <c:pt idx="17" formatCode="0.00%">
                  <c:v>0</c:v>
                </c:pt>
                <c:pt idx="18" formatCode="0.00%">
                  <c:v>2.1739130434782608E-2</c:v>
                </c:pt>
                <c:pt idx="19" formatCode="0.00%">
                  <c:v>4.2553191489361701E-2</c:v>
                </c:pt>
                <c:pt idx="20" formatCode="0.00%">
                  <c:v>2.0408163265306121E-2</c:v>
                </c:pt>
                <c:pt idx="21" formatCode="0.00%">
                  <c:v>0.02</c:v>
                </c:pt>
                <c:pt idx="22" formatCode="0.00%">
                  <c:v>0</c:v>
                </c:pt>
                <c:pt idx="23" formatCode="0.00%">
                  <c:v>0</c:v>
                </c:pt>
                <c:pt idx="24" formatCode="0.00%">
                  <c:v>3.9215686274509803E-2</c:v>
                </c:pt>
                <c:pt idx="25" formatCode="0.00%">
                  <c:v>3.7735849056603772E-2</c:v>
                </c:pt>
                <c:pt idx="26" formatCode="0.00%">
                  <c:v>0</c:v>
                </c:pt>
                <c:pt idx="27" formatCode="0.00%">
                  <c:v>0</c:v>
                </c:pt>
                <c:pt idx="28" formatCode="0.00%">
                  <c:v>5.4545454545454543E-2</c:v>
                </c:pt>
                <c:pt idx="29" formatCode="0.00%">
                  <c:v>5.1724137931034482E-2</c:v>
                </c:pt>
                <c:pt idx="30" formatCode="0.00%">
                  <c:v>1.6393442622950821E-2</c:v>
                </c:pt>
                <c:pt idx="31" formatCode="0.00%">
                  <c:v>1.6129032258064516E-2</c:v>
                </c:pt>
                <c:pt idx="32" formatCode="0.00%">
                  <c:v>1.5873015873015872E-2</c:v>
                </c:pt>
                <c:pt idx="33" formatCode="0.00%">
                  <c:v>1.5625E-2</c:v>
                </c:pt>
                <c:pt idx="34" formatCode="0.00%">
                  <c:v>3.0769230769230771E-2</c:v>
                </c:pt>
                <c:pt idx="35" formatCode="0.00%">
                  <c:v>0</c:v>
                </c:pt>
                <c:pt idx="36" formatCode="0.00%">
                  <c:v>1.4925373134328358E-2</c:v>
                </c:pt>
                <c:pt idx="37" formatCode="0.00%">
                  <c:v>0</c:v>
                </c:pt>
                <c:pt idx="38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0E-4A37-A260-174BC1EF0F4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4.1666666666666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F0E-4A37-A260-174BC1EF0F4C}"/>
                </c:ext>
              </c:extLst>
            </c:dLbl>
            <c:dLbl>
              <c:idx val="12"/>
              <c:layout>
                <c:manualLayout>
                  <c:x val="-4.9539272448137099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0E-4A37-A260-174BC1EF0F4C}"/>
                </c:ext>
              </c:extLst>
            </c:dLbl>
            <c:dLbl>
              <c:idx val="14"/>
              <c:layout>
                <c:manualLayout>
                  <c:x val="-4.6931942319287802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-0.4</c:v>
                </c:pt>
                <c:pt idx="3" formatCode="0.00%">
                  <c:v>-0.33333333333333331</c:v>
                </c:pt>
                <c:pt idx="4" formatCode="0.00%">
                  <c:v>2</c:v>
                </c:pt>
                <c:pt idx="5" formatCode="0.00%">
                  <c:v>-1</c:v>
                </c:pt>
                <c:pt idx="6" formatCode="0.00%">
                  <c:v>0</c:v>
                </c:pt>
                <c:pt idx="7" formatCode="0.00%">
                  <c:v>-0.5</c:v>
                </c:pt>
                <c:pt idx="8" formatCode="0.00%">
                  <c:v>-0.5</c:v>
                </c:pt>
                <c:pt idx="9" formatCode="0.00%">
                  <c:v>10</c:v>
                </c:pt>
                <c:pt idx="10" formatCode="0.00%">
                  <c:v>-0.54545454545454541</c:v>
                </c:pt>
                <c:pt idx="11" formatCode="0.00%">
                  <c:v>-0.6</c:v>
                </c:pt>
                <c:pt idx="12" formatCode="0.00%">
                  <c:v>0</c:v>
                </c:pt>
                <c:pt idx="13" formatCode="0.00%">
                  <c:v>-0.5</c:v>
                </c:pt>
                <c:pt idx="14" formatCode="0.00%">
                  <c:v>0</c:v>
                </c:pt>
                <c:pt idx="15" formatCode="0.00%">
                  <c:v>-1</c:v>
                </c:pt>
                <c:pt idx="16" formatCode="0.00%">
                  <c:v>0</c:v>
                </c:pt>
                <c:pt idx="17" formatCode="0.00%">
                  <c:v>-1</c:v>
                </c:pt>
                <c:pt idx="18" formatCode="0.00%">
                  <c:v>0</c:v>
                </c:pt>
                <c:pt idx="19" formatCode="0.00%">
                  <c:v>1</c:v>
                </c:pt>
                <c:pt idx="20" formatCode="0.00%">
                  <c:v>-0.5</c:v>
                </c:pt>
                <c:pt idx="21" formatCode="0.00%">
                  <c:v>0</c:v>
                </c:pt>
                <c:pt idx="22" formatCode="0.00%">
                  <c:v>-1</c:v>
                </c:pt>
                <c:pt idx="23" formatCode="0.00%">
                  <c:v>0</c:v>
                </c:pt>
                <c:pt idx="24" formatCode="0.00%">
                  <c:v>0</c:v>
                </c:pt>
                <c:pt idx="25" formatCode="0.00%">
                  <c:v>0</c:v>
                </c:pt>
                <c:pt idx="26" formatCode="0.00%">
                  <c:v>-1</c:v>
                </c:pt>
                <c:pt idx="27" formatCode="0.00%">
                  <c:v>0</c:v>
                </c:pt>
                <c:pt idx="28" formatCode="0.00%">
                  <c:v>0</c:v>
                </c:pt>
                <c:pt idx="29" formatCode="0.00%">
                  <c:v>0</c:v>
                </c:pt>
                <c:pt idx="30" formatCode="0.00%">
                  <c:v>-0.66666666666666663</c:v>
                </c:pt>
                <c:pt idx="31" formatCode="0.00%">
                  <c:v>0</c:v>
                </c:pt>
                <c:pt idx="32" formatCode="0.00%">
                  <c:v>0</c:v>
                </c:pt>
                <c:pt idx="33" formatCode="0.00%">
                  <c:v>0</c:v>
                </c:pt>
                <c:pt idx="34" formatCode="0.00%">
                  <c:v>1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B$3:$B$40</c:f>
              <c:numCache>
                <c:formatCode>General</c:formatCode>
                <c:ptCount val="38"/>
                <c:pt idx="0">
                  <c:v>5</c:v>
                </c:pt>
                <c:pt idx="1">
                  <c:v>3</c:v>
                </c:pt>
                <c:pt idx="2">
                  <c:v>2</c:v>
                </c:pt>
                <c:pt idx="3">
                  <c:v>6</c:v>
                </c:pt>
                <c:pt idx="4">
                  <c:v>0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1</c:v>
                </c:pt>
                <c:pt idx="9">
                  <c:v>5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1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3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B3-4A31-B4EE-65992E9AC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0</c:f>
              <c:strCache>
                <c:ptCount val="38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</c:strCache>
            </c:strRef>
          </c:cat>
          <c:val>
            <c:numRef>
              <c:f>Sheet1!$C$3:$C$40</c:f>
              <c:numCache>
                <c:formatCode>0</c:formatCode>
                <c:ptCount val="38"/>
                <c:pt idx="0">
                  <c:v>2.5</c:v>
                </c:pt>
                <c:pt idx="1">
                  <c:v>2.6666666666666665</c:v>
                </c:pt>
                <c:pt idx="2">
                  <c:v>2.5</c:v>
                </c:pt>
                <c:pt idx="3">
                  <c:v>3.2</c:v>
                </c:pt>
                <c:pt idx="4">
                  <c:v>2.6666666666666665</c:v>
                </c:pt>
                <c:pt idx="5">
                  <c:v>2.8571428571428572</c:v>
                </c:pt>
                <c:pt idx="6">
                  <c:v>2.75</c:v>
                </c:pt>
                <c:pt idx="7">
                  <c:v>2.5555555555555554</c:v>
                </c:pt>
                <c:pt idx="8">
                  <c:v>3.4</c:v>
                </c:pt>
                <c:pt idx="9">
                  <c:v>3.5454545454545454</c:v>
                </c:pt>
                <c:pt idx="10">
                  <c:v>3.4166666666666665</c:v>
                </c:pt>
                <c:pt idx="11">
                  <c:v>3.3076923076923075</c:v>
                </c:pt>
                <c:pt idx="12">
                  <c:v>3.1428571428571428</c:v>
                </c:pt>
                <c:pt idx="13">
                  <c:v>3</c:v>
                </c:pt>
                <c:pt idx="14">
                  <c:v>2.8125</c:v>
                </c:pt>
                <c:pt idx="15">
                  <c:v>2.7058823529411766</c:v>
                </c:pt>
                <c:pt idx="16">
                  <c:v>2.5555555555555554</c:v>
                </c:pt>
                <c:pt idx="17">
                  <c:v>2.4736842105263159</c:v>
                </c:pt>
                <c:pt idx="18">
                  <c:v>2.4500000000000002</c:v>
                </c:pt>
                <c:pt idx="19">
                  <c:v>2.3809523809523809</c:v>
                </c:pt>
                <c:pt idx="20">
                  <c:v>2.3181818181818183</c:v>
                </c:pt>
                <c:pt idx="21">
                  <c:v>2.2173913043478262</c:v>
                </c:pt>
                <c:pt idx="22">
                  <c:v>2.125</c:v>
                </c:pt>
                <c:pt idx="23">
                  <c:v>2.12</c:v>
                </c:pt>
                <c:pt idx="24">
                  <c:v>2.1153846153846154</c:v>
                </c:pt>
                <c:pt idx="25">
                  <c:v>2.0370370370370372</c:v>
                </c:pt>
                <c:pt idx="26">
                  <c:v>1.9642857142857142</c:v>
                </c:pt>
                <c:pt idx="27">
                  <c:v>2</c:v>
                </c:pt>
                <c:pt idx="28">
                  <c:v>2.0333333333333332</c:v>
                </c:pt>
                <c:pt idx="29">
                  <c:v>2</c:v>
                </c:pt>
                <c:pt idx="30">
                  <c:v>1.96875</c:v>
                </c:pt>
                <c:pt idx="31">
                  <c:v>1.9393939393939394</c:v>
                </c:pt>
                <c:pt idx="32">
                  <c:v>1.911764705882353</c:v>
                </c:pt>
                <c:pt idx="33">
                  <c:v>1.9142857142857144</c:v>
                </c:pt>
                <c:pt idx="34">
                  <c:v>1.8611111111111112</c:v>
                </c:pt>
                <c:pt idx="35">
                  <c:v>1.8378378378378379</c:v>
                </c:pt>
                <c:pt idx="36">
                  <c:v>1.7894736842105263</c:v>
                </c:pt>
                <c:pt idx="37">
                  <c:v>1.7435897435897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95104"/>
        <c:crosses val="autoZero"/>
        <c:auto val="0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C2-4077-922D-9BBB579E28E9}"/>
                </c:ext>
              </c:extLst>
            </c:dLbl>
            <c:dLbl>
              <c:idx val="8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C2-4077-922D-9BBB579E28E9}"/>
                </c:ext>
              </c:extLst>
            </c:dLbl>
            <c:dLbl>
              <c:idx val="13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BC2-4077-922D-9BBB579E28E9}"/>
                </c:ext>
              </c:extLst>
            </c:dLbl>
            <c:dLbl>
              <c:idx val="14"/>
              <c:layout>
                <c:manualLayout>
                  <c:x val="-3.08624450112750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BC2-4077-922D-9BBB579E28E9}"/>
                </c:ext>
              </c:extLst>
            </c:dLbl>
            <c:dLbl>
              <c:idx val="18"/>
              <c:layout>
                <c:manualLayout>
                  <c:x val="-2.89085431222506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BC2-4077-922D-9BBB579E28E9}"/>
                </c:ext>
              </c:extLst>
            </c:dLbl>
            <c:dLbl>
              <c:idx val="19"/>
              <c:layout>
                <c:manualLayout>
                  <c:x val="-3.3603378803001703E-2"/>
                  <c:y val="-6.168463996348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C2-4077-922D-9BBB579E28E9}"/>
                </c:ext>
              </c:extLst>
            </c:dLbl>
            <c:dLbl>
              <c:idx val="20"/>
              <c:layout>
                <c:manualLayout>
                  <c:x val="-3.5950796643377303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BC2-4077-922D-9BBB579E28E9}"/>
                </c:ext>
              </c:extLst>
            </c:dLbl>
            <c:dLbl>
              <c:idx val="21"/>
              <c:layout>
                <c:manualLayout>
                  <c:x val="-4.5340468004879703E-2"/>
                  <c:y val="-2.18295674997147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BC2-4077-922D-9BBB579E28E9}"/>
                </c:ext>
              </c:extLst>
            </c:dLbl>
            <c:dLbl>
              <c:idx val="22"/>
              <c:layout>
                <c:manualLayout>
                  <c:x val="-1.40845070422535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C2-4077-922D-9BBB579E28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.00</c:formatCode>
                <c:ptCount val="39"/>
                <c:pt idx="0">
                  <c:v>3</c:v>
                </c:pt>
                <c:pt idx="1">
                  <c:v>0.7142857142857143</c:v>
                </c:pt>
                <c:pt idx="2">
                  <c:v>0.42857142857142855</c:v>
                </c:pt>
                <c:pt idx="3">
                  <c:v>0.2857142857142857</c:v>
                </c:pt>
                <c:pt idx="4">
                  <c:v>0.8571428571428571</c:v>
                </c:pt>
                <c:pt idx="5">
                  <c:v>0</c:v>
                </c:pt>
                <c:pt idx="6">
                  <c:v>0.5714285714285714</c:v>
                </c:pt>
                <c:pt idx="7">
                  <c:v>0.2857142857142857</c:v>
                </c:pt>
                <c:pt idx="8">
                  <c:v>0.14285714285714285</c:v>
                </c:pt>
                <c:pt idx="9">
                  <c:v>1.5714285714285714</c:v>
                </c:pt>
                <c:pt idx="10">
                  <c:v>0.7142857142857143</c:v>
                </c:pt>
                <c:pt idx="11">
                  <c:v>0.2857142857142857</c:v>
                </c:pt>
                <c:pt idx="12">
                  <c:v>0.2857142857142857</c:v>
                </c:pt>
                <c:pt idx="13">
                  <c:v>0.14285714285714285</c:v>
                </c:pt>
                <c:pt idx="14">
                  <c:v>0.14285714285714285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.14285714285714285</c:v>
                </c:pt>
                <c:pt idx="19">
                  <c:v>0.2857142857142857</c:v>
                </c:pt>
                <c:pt idx="20">
                  <c:v>0.14285714285714285</c:v>
                </c:pt>
                <c:pt idx="21">
                  <c:v>0.14285714285714285</c:v>
                </c:pt>
                <c:pt idx="22">
                  <c:v>0</c:v>
                </c:pt>
                <c:pt idx="23">
                  <c:v>0</c:v>
                </c:pt>
                <c:pt idx="24">
                  <c:v>0.2857142857142857</c:v>
                </c:pt>
                <c:pt idx="25">
                  <c:v>0.2857142857142857</c:v>
                </c:pt>
                <c:pt idx="26">
                  <c:v>0</c:v>
                </c:pt>
                <c:pt idx="27">
                  <c:v>0</c:v>
                </c:pt>
                <c:pt idx="28">
                  <c:v>0.42857142857142855</c:v>
                </c:pt>
                <c:pt idx="29">
                  <c:v>0.42857142857142855</c:v>
                </c:pt>
                <c:pt idx="30">
                  <c:v>0.14285714285714285</c:v>
                </c:pt>
                <c:pt idx="31">
                  <c:v>0.14285714285714285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2857142857142857</c:v>
                </c:pt>
                <c:pt idx="35">
                  <c:v>0</c:v>
                </c:pt>
                <c:pt idx="36">
                  <c:v>0.14285714285714285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88928"/>
        <c:crosses val="autoZero"/>
        <c:auto val="0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000000000000001</c:v>
                </c:pt>
                <c:pt idx="2" formatCode="0.00%">
                  <c:v>0.95238095238095233</c:v>
                </c:pt>
                <c:pt idx="3" formatCode="0.00%">
                  <c:v>9.7560975609756101E-2</c:v>
                </c:pt>
                <c:pt idx="4" formatCode="0.00%">
                  <c:v>0.1111111111111111</c:v>
                </c:pt>
                <c:pt idx="5" formatCode="0.00%">
                  <c:v>0.06</c:v>
                </c:pt>
                <c:pt idx="6" formatCode="0.00%">
                  <c:v>0.11320754716981132</c:v>
                </c:pt>
                <c:pt idx="7" formatCode="0.00%">
                  <c:v>0.10169491525423729</c:v>
                </c:pt>
                <c:pt idx="8" formatCode="0.00%">
                  <c:v>4.6153846153846156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67-456F-A12F-3BDD4B1A2A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</c:v>
                </c:pt>
                <c:pt idx="2" formatCode="0.00%">
                  <c:v>0.81818181818181823</c:v>
                </c:pt>
                <c:pt idx="3" formatCode="0.00%">
                  <c:v>-0.8</c:v>
                </c:pt>
                <c:pt idx="4" formatCode="0.00%">
                  <c:v>0.25</c:v>
                </c:pt>
                <c:pt idx="5" formatCode="0.00%">
                  <c:v>-0.4</c:v>
                </c:pt>
                <c:pt idx="6" formatCode="0.00%">
                  <c:v>1</c:v>
                </c:pt>
                <c:pt idx="7" formatCode="0.00%">
                  <c:v>0</c:v>
                </c:pt>
                <c:pt idx="8" formatCode="0.00%">
                  <c:v>-0.5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557132823185833"/>
          <c:y val="0.12208962160979879"/>
          <c:w val="0.79065265609404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D2-485C-A9D5-EA1F14A695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General</c:formatCode>
                <c:ptCount val="39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D2-485C-A9D5-EA1F14A695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8D2-485C-A9D5-EA1F14A6954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8D2-485C-A9D5-EA1F14A6954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8D2-485C-A9D5-EA1F14A6954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8D2-485C-A9D5-EA1F14A6954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8D2-485C-A9D5-EA1F14A6954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8D2-485C-A9D5-EA1F14A6954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8D2-485C-A9D5-EA1F14A69547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8D2-485C-A9D5-EA1F14A69547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8D2-485C-A9D5-EA1F14A69547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8D2-485C-A9D5-EA1F14A69547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8D2-485C-A9D5-EA1F14A69547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8D2-485C-A9D5-EA1F14A69547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5C9-4A13-AD4F-F42A4801C608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5C9-4A13-AD4F-F42A4801C608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5C9-4A13-AD4F-F42A4801C608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5C9-4A13-AD4F-F42A4801C608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5C9-4A13-AD4F-F42A4801C608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5C9-4A13-AD4F-F42A4801C608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5C9-4A13-AD4F-F42A4801C608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5C9-4A13-AD4F-F42A4801C608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64-4125-87FC-2ED0AA6BC4E4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3C-4461-A8D1-611C615B04FB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3C-4461-A8D1-611C615B04FB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3C-4461-A8D1-611C615B04FB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3C-4461-A8D1-611C615B04FB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93C-4461-A8D1-611C615B04FB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93C-4461-A8D1-611C615B04FB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93C-4461-A8D1-611C615B04FB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93C-4461-A8D1-611C615B04FB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FFD-4F6E-9CC5-E10E45AC1D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</c:formatCode>
                <c:ptCount val="39"/>
                <c:pt idx="0">
                  <c:v>8</c:v>
                </c:pt>
                <c:pt idx="1">
                  <c:v>31.5</c:v>
                </c:pt>
                <c:pt idx="2">
                  <c:v>30.333333333333332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36</c:v>
                </c:pt>
                <c:pt idx="6">
                  <c:v>31.571428571428573</c:v>
                </c:pt>
                <c:pt idx="7">
                  <c:v>30.125</c:v>
                </c:pt>
                <c:pt idx="8">
                  <c:v>32.111111111111114</c:v>
                </c:pt>
                <c:pt idx="9">
                  <c:v>44.3</c:v>
                </c:pt>
                <c:pt idx="10">
                  <c:v>42.363636363636367</c:v>
                </c:pt>
                <c:pt idx="11">
                  <c:v>41.083333333333336</c:v>
                </c:pt>
                <c:pt idx="12">
                  <c:v>39.384615384615387</c:v>
                </c:pt>
                <c:pt idx="13">
                  <c:v>38.071428571428569</c:v>
                </c:pt>
                <c:pt idx="14">
                  <c:v>36.799999999999997</c:v>
                </c:pt>
                <c:pt idx="15">
                  <c:v>35.4375</c:v>
                </c:pt>
                <c:pt idx="16">
                  <c:v>34.352941176470587</c:v>
                </c:pt>
                <c:pt idx="17">
                  <c:v>33.833333333333336</c:v>
                </c:pt>
                <c:pt idx="18">
                  <c:v>32.526315789473685</c:v>
                </c:pt>
                <c:pt idx="19">
                  <c:v>32.799999999999997</c:v>
                </c:pt>
                <c:pt idx="20">
                  <c:v>33.095238095238095</c:v>
                </c:pt>
                <c:pt idx="21">
                  <c:v>32.68181818181818</c:v>
                </c:pt>
                <c:pt idx="22">
                  <c:v>32.478260869565219</c:v>
                </c:pt>
                <c:pt idx="23">
                  <c:v>32.083333333333336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851</c:v>
                </c:pt>
                <c:pt idx="27">
                  <c:v>30.25</c:v>
                </c:pt>
                <c:pt idx="28">
                  <c:v>29.758620689655171</c:v>
                </c:pt>
                <c:pt idx="29">
                  <c:v>29.6</c:v>
                </c:pt>
                <c:pt idx="30">
                  <c:v>29.161290322580644</c:v>
                </c:pt>
                <c:pt idx="31">
                  <c:v>28.875</c:v>
                </c:pt>
                <c:pt idx="32">
                  <c:v>28.90909090909091</c:v>
                </c:pt>
                <c:pt idx="33">
                  <c:v>28.647058823529413</c:v>
                </c:pt>
                <c:pt idx="34">
                  <c:v>28.685714285714287</c:v>
                </c:pt>
                <c:pt idx="35">
                  <c:v>28.416666666666668</c:v>
                </c:pt>
                <c:pt idx="36">
                  <c:v>28.027027027027028</c:v>
                </c:pt>
                <c:pt idx="37">
                  <c:v>27.605263157894736</c:v>
                </c:pt>
                <c:pt idx="38">
                  <c:v>27.53846153846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9632"/>
        <c:crosses val="autoZero"/>
        <c:auto val="0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638497652582198E-2"/>
          <c:y val="0.88645833333333302"/>
          <c:w val="0.852112676056338"/>
          <c:h val="0.1031249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681187949332401"/>
          <c:w val="0.8048898377139479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43-4AF5-A258-7698D891EE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E$2:$E$40</c:f>
              <c:numCache>
                <c:formatCode>0</c:formatCode>
                <c:ptCount val="39"/>
                <c:pt idx="0">
                  <c:v>4</c:v>
                </c:pt>
                <c:pt idx="1">
                  <c:v>6.5714285714285712</c:v>
                </c:pt>
                <c:pt idx="2">
                  <c:v>2.5714285714285716</c:v>
                </c:pt>
                <c:pt idx="3">
                  <c:v>2.4285714285714284</c:v>
                </c:pt>
                <c:pt idx="4">
                  <c:v>2.7142857142857144</c:v>
                </c:pt>
                <c:pt idx="5">
                  <c:v>3.2857142857142856</c:v>
                </c:pt>
                <c:pt idx="6">
                  <c:v>3</c:v>
                </c:pt>
                <c:pt idx="7">
                  <c:v>2</c:v>
                </c:pt>
                <c:pt idx="8">
                  <c:v>2.5714285714285716</c:v>
                </c:pt>
                <c:pt idx="9">
                  <c:v>17.714285714285715</c:v>
                </c:pt>
                <c:pt idx="10">
                  <c:v>1.8571428571428572</c:v>
                </c:pt>
                <c:pt idx="11">
                  <c:v>3.1428571428571428</c:v>
                </c:pt>
                <c:pt idx="12">
                  <c:v>2</c:v>
                </c:pt>
                <c:pt idx="13">
                  <c:v>2.4285714285714284</c:v>
                </c:pt>
                <c:pt idx="14">
                  <c:v>1.8571428571428572</c:v>
                </c:pt>
                <c:pt idx="15">
                  <c:v>1.8571428571428572</c:v>
                </c:pt>
                <c:pt idx="16">
                  <c:v>1.1428571428571428</c:v>
                </c:pt>
                <c:pt idx="17">
                  <c:v>2.8571428571428572</c:v>
                </c:pt>
                <c:pt idx="18">
                  <c:v>0.8571428571428571</c:v>
                </c:pt>
                <c:pt idx="19">
                  <c:v>2.7142857142857144</c:v>
                </c:pt>
                <c:pt idx="20">
                  <c:v>2.5714285714285716</c:v>
                </c:pt>
                <c:pt idx="21">
                  <c:v>2.4285714285714284</c:v>
                </c:pt>
                <c:pt idx="22">
                  <c:v>2.5714285714285716</c:v>
                </c:pt>
                <c:pt idx="23">
                  <c:v>2.4285714285714284</c:v>
                </c:pt>
                <c:pt idx="24">
                  <c:v>2.1428571428571428</c:v>
                </c:pt>
                <c:pt idx="25">
                  <c:v>1.7142857142857142</c:v>
                </c:pt>
                <c:pt idx="26">
                  <c:v>0.5714285714285714</c:v>
                </c:pt>
                <c:pt idx="27">
                  <c:v>1.7142857142857142</c:v>
                </c:pt>
                <c:pt idx="28">
                  <c:v>1.7142857142857142</c:v>
                </c:pt>
                <c:pt idx="29">
                  <c:v>2.8571428571428572</c:v>
                </c:pt>
                <c:pt idx="30">
                  <c:v>1.2857142857142858</c:v>
                </c:pt>
                <c:pt idx="31">
                  <c:v>2.4285714285714284</c:v>
                </c:pt>
                <c:pt idx="32">
                  <c:v>2.5714285714285716</c:v>
                </c:pt>
                <c:pt idx="33">
                  <c:v>2.2857142857142856</c:v>
                </c:pt>
                <c:pt idx="34">
                  <c:v>3.1428571428571428</c:v>
                </c:pt>
                <c:pt idx="35">
                  <c:v>2</c:v>
                </c:pt>
                <c:pt idx="36">
                  <c:v>1.5714285714285714</c:v>
                </c:pt>
                <c:pt idx="37">
                  <c:v>0.7142857142857143</c:v>
                </c:pt>
                <c:pt idx="38">
                  <c:v>2.85714285714285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32-4A9B-BA80-B60AB08DFCB1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032-4A9B-BA80-B60AB08DFCB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032-4A9B-BA80-B60AB08DFCB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743-4AF5-A258-7698D891EE2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368-432A-B309-38EAF0419E98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84-49E5-9E1D-943B56A4DDED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A84-49E5-9E1D-943B56A4DD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F$2:$F$40</c:f>
              <c:numCache>
                <c:formatCode>0</c:formatCode>
                <c:ptCount val="39"/>
                <c:pt idx="0" formatCode="General">
                  <c:v>0</c:v>
                </c:pt>
                <c:pt idx="1">
                  <c:v>1.2857142857142858</c:v>
                </c:pt>
                <c:pt idx="2">
                  <c:v>1.4285714285714286</c:v>
                </c:pt>
                <c:pt idx="3">
                  <c:v>0.7142857142857143</c:v>
                </c:pt>
                <c:pt idx="4">
                  <c:v>3.1428571428571428</c:v>
                </c:pt>
                <c:pt idx="5">
                  <c:v>2.4285714285714284</c:v>
                </c:pt>
                <c:pt idx="6">
                  <c:v>0.8571428571428571</c:v>
                </c:pt>
                <c:pt idx="7">
                  <c:v>0.8571428571428571</c:v>
                </c:pt>
                <c:pt idx="8">
                  <c:v>4.2857142857142856</c:v>
                </c:pt>
                <c:pt idx="9">
                  <c:v>4.2857142857142856</c:v>
                </c:pt>
                <c:pt idx="10">
                  <c:v>1.4285714285714286</c:v>
                </c:pt>
                <c:pt idx="11">
                  <c:v>0.7142857142857143</c:v>
                </c:pt>
                <c:pt idx="12">
                  <c:v>0.7142857142857143</c:v>
                </c:pt>
                <c:pt idx="13">
                  <c:v>0.5714285714285714</c:v>
                </c:pt>
                <c:pt idx="14">
                  <c:v>0.8571428571428571</c:v>
                </c:pt>
                <c:pt idx="15">
                  <c:v>0.2857142857142857</c:v>
                </c:pt>
                <c:pt idx="16">
                  <c:v>1.2857142857142858</c:v>
                </c:pt>
                <c:pt idx="17">
                  <c:v>0.7142857142857143</c:v>
                </c:pt>
                <c:pt idx="18">
                  <c:v>0.42857142857142855</c:v>
                </c:pt>
                <c:pt idx="19">
                  <c:v>2.7142857142857144</c:v>
                </c:pt>
                <c:pt idx="20">
                  <c:v>3</c:v>
                </c:pt>
                <c:pt idx="21">
                  <c:v>1</c:v>
                </c:pt>
                <c:pt idx="22">
                  <c:v>1.4285714285714286</c:v>
                </c:pt>
                <c:pt idx="23">
                  <c:v>0.8571428571428571</c:v>
                </c:pt>
                <c:pt idx="24">
                  <c:v>1.8571428571428572</c:v>
                </c:pt>
                <c:pt idx="25">
                  <c:v>1.2857142857142858</c:v>
                </c:pt>
                <c:pt idx="26">
                  <c:v>1.4285714285714286</c:v>
                </c:pt>
                <c:pt idx="27">
                  <c:v>0.2857142857142857</c:v>
                </c:pt>
                <c:pt idx="28">
                  <c:v>0.5714285714285714</c:v>
                </c:pt>
                <c:pt idx="29">
                  <c:v>0.7142857142857143</c:v>
                </c:pt>
                <c:pt idx="30">
                  <c:v>0.7142857142857143</c:v>
                </c:pt>
                <c:pt idx="31">
                  <c:v>0.42857142857142855</c:v>
                </c:pt>
                <c:pt idx="32">
                  <c:v>1.5714285714285714</c:v>
                </c:pt>
                <c:pt idx="33">
                  <c:v>0.5714285714285714</c:v>
                </c:pt>
                <c:pt idx="34">
                  <c:v>1.1428571428571428</c:v>
                </c:pt>
                <c:pt idx="35">
                  <c:v>0.7142857142857143</c:v>
                </c:pt>
                <c:pt idx="36">
                  <c:v>0.42857142857142855</c:v>
                </c:pt>
                <c:pt idx="37">
                  <c:v>1</c:v>
                </c:pt>
                <c:pt idx="38">
                  <c:v>0.7142857142857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32-4A9B-BA80-B60AB08DFCB1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032-4A9B-BA80-B60AB08DFCB1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32-4A9B-BA80-B60AB08DFCB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032-4A9B-BA80-B60AB08DFCB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032-4A9B-BA80-B60AB08DFCB1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032-4A9B-BA80-B60AB08DFCB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032-4A9B-BA80-B60AB08DFCB1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032-4A9B-BA80-B60AB08DFCB1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032-4A9B-BA80-B60AB08DFCB1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032-4A9B-BA80-B60AB08DFCB1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032-4A9B-BA80-B60AB08DFCB1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032-4A9B-BA80-B60AB08DFCB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032-4A9B-BA80-B60AB08DFCB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032-4A9B-BA80-B60AB08DFCB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032-4A9B-BA80-B60AB08DFCB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032-4A9B-BA80-B60AB08DFCB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032-4A9B-BA80-B60AB08DFCB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032-4A9B-BA80-B60AB08DFCB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032-4A9B-BA80-B60AB08DFCB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032-4A9B-BA80-B60AB08DFCB1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032-4A9B-BA80-B60AB08DFCB1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032-4A9B-BA80-B60AB08DFCB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032-4A9B-BA80-B60AB08DFCB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032-4A9B-BA80-B60AB08DFCB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032-4A9B-BA80-B60AB08DFC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G$2:$G$40</c:f>
              <c:numCache>
                <c:formatCode>0</c:formatCode>
                <c:ptCount val="39"/>
                <c:pt idx="0">
                  <c:v>1.5</c:v>
                </c:pt>
                <c:pt idx="1">
                  <c:v>4.8571428571428568</c:v>
                </c:pt>
                <c:pt idx="2">
                  <c:v>0.14285714285714285</c:v>
                </c:pt>
                <c:pt idx="3">
                  <c:v>0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2857142857142857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285</c:v>
                </c:pt>
                <c:pt idx="22">
                  <c:v>0.14285714285714285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H$2:$H$40</c:f>
              <c:numCache>
                <c:formatCode>0</c:formatCode>
                <c:ptCount val="39"/>
                <c:pt idx="0">
                  <c:v>5.5</c:v>
                </c:pt>
                <c:pt idx="1">
                  <c:v>12.714285714285714</c:v>
                </c:pt>
                <c:pt idx="2">
                  <c:v>4.1428571428571432</c:v>
                </c:pt>
                <c:pt idx="3">
                  <c:v>3.1428571428571428</c:v>
                </c:pt>
                <c:pt idx="4">
                  <c:v>6.0000000000000009</c:v>
                </c:pt>
                <c:pt idx="5">
                  <c:v>5.7142857142857135</c:v>
                </c:pt>
                <c:pt idx="6">
                  <c:v>3.8571428571428572</c:v>
                </c:pt>
                <c:pt idx="7">
                  <c:v>3.1428571428571428</c:v>
                </c:pt>
                <c:pt idx="8">
                  <c:v>6.8571428571428577</c:v>
                </c:pt>
                <c:pt idx="9">
                  <c:v>22</c:v>
                </c:pt>
                <c:pt idx="10">
                  <c:v>3.2857142857142856</c:v>
                </c:pt>
                <c:pt idx="11">
                  <c:v>3.8571428571428572</c:v>
                </c:pt>
                <c:pt idx="12">
                  <c:v>2.7142857142857144</c:v>
                </c:pt>
                <c:pt idx="13">
                  <c:v>3</c:v>
                </c:pt>
                <c:pt idx="14">
                  <c:v>2.7142857142857144</c:v>
                </c:pt>
                <c:pt idx="15">
                  <c:v>2.1428571428571428</c:v>
                </c:pt>
                <c:pt idx="16">
                  <c:v>2.4285714285714288</c:v>
                </c:pt>
                <c:pt idx="17">
                  <c:v>3.5714285714285716</c:v>
                </c:pt>
                <c:pt idx="18">
                  <c:v>1.2857142857142856</c:v>
                </c:pt>
                <c:pt idx="19">
                  <c:v>5.4285714285714288</c:v>
                </c:pt>
                <c:pt idx="20">
                  <c:v>5.5714285714285712</c:v>
                </c:pt>
                <c:pt idx="21">
                  <c:v>3.5714285714285712</c:v>
                </c:pt>
                <c:pt idx="22">
                  <c:v>4.1428571428571432</c:v>
                </c:pt>
                <c:pt idx="23">
                  <c:v>3.2857142857142856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56</c:v>
                </c:pt>
                <c:pt idx="29">
                  <c:v>3.5714285714285716</c:v>
                </c:pt>
                <c:pt idx="30">
                  <c:v>2</c:v>
                </c:pt>
                <c:pt idx="31">
                  <c:v>2.8571428571428568</c:v>
                </c:pt>
                <c:pt idx="32">
                  <c:v>4.1428571428571432</c:v>
                </c:pt>
                <c:pt idx="33">
                  <c:v>2.8571428571428568</c:v>
                </c:pt>
                <c:pt idx="34">
                  <c:v>4.2857142857142856</c:v>
                </c:pt>
                <c:pt idx="35">
                  <c:v>2.7142857142857144</c:v>
                </c:pt>
                <c:pt idx="36">
                  <c:v>2</c:v>
                </c:pt>
                <c:pt idx="37">
                  <c:v>1.7142857142857144</c:v>
                </c:pt>
                <c:pt idx="38">
                  <c:v>3.5714285714285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3664"/>
        <c:crosses val="autoZero"/>
        <c:auto val="0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312049190020101E-2"/>
          <c:y val="0.8679048776254120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1359786305686299E-2"/>
          <c:y val="0.13424262308120599"/>
          <c:w val="0.85995106020818002"/>
          <c:h val="0.698041040324504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C8-4D2D-A129-7BBD245778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C8-4D2D-A129-7BBD245778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C8-4D2D-A129-7BBD2457787B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C8-4D2D-A129-7BBD2457787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C8-4D2D-A129-7BBD2457787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9D-4B75-99DA-D83D93B8207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140-47AF-9A38-7557EE83EB2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11-42F6-87A2-AFF6611D9A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C8-4D2D-A129-7BBD24577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>
                  <c:v>#N/A</c:v>
                </c:pt>
                <c:pt idx="1">
                  <c:v>1.0218978102189782</c:v>
                </c:pt>
                <c:pt idx="2">
                  <c:v>1.8357142857142856</c:v>
                </c:pt>
                <c:pt idx="3">
                  <c:v>0.32295719844357978</c:v>
                </c:pt>
                <c:pt idx="4">
                  <c:v>1.3975903614457832</c:v>
                </c:pt>
                <c:pt idx="5">
                  <c:v>0.94827586206896552</c:v>
                </c:pt>
                <c:pt idx="6">
                  <c:v>0.70909090909090911</c:v>
                </c:pt>
                <c:pt idx="7">
                  <c:v>1.2051282051282051</c:v>
                </c:pt>
                <c:pt idx="8">
                  <c:v>0.94680851063829785</c:v>
                </c:pt>
                <c:pt idx="9">
                  <c:v>0.16853932584269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EC8-4D2D-A129-7BBD245778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2.2162306095219301E-2"/>
                  <c:y val="3.030303030303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C8-4D2D-A129-7BBD245778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  <c:pt idx="6">
                  <c:v>October</c:v>
                </c:pt>
                <c:pt idx="7">
                  <c:v>November</c:v>
                </c:pt>
                <c:pt idx="8">
                  <c:v>December</c:v>
                </c:pt>
                <c:pt idx="9">
                  <c:v>January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>
                  <c:v>#N/A</c:v>
                </c:pt>
                <c:pt idx="1">
                  <c:v>2.1897810218978103E-2</c:v>
                </c:pt>
                <c:pt idx="2">
                  <c:v>0.83571428571428574</c:v>
                </c:pt>
                <c:pt idx="3">
                  <c:v>-0.67704280155642027</c:v>
                </c:pt>
                <c:pt idx="4">
                  <c:v>0.39759036144578314</c:v>
                </c:pt>
                <c:pt idx="5">
                  <c:v>-5.1724137931034482E-2</c:v>
                </c:pt>
                <c:pt idx="6">
                  <c:v>-0.29090909090909089</c:v>
                </c:pt>
                <c:pt idx="7">
                  <c:v>0.20512820512820512</c:v>
                </c:pt>
                <c:pt idx="8">
                  <c:v>-5.3191489361702128E-2</c:v>
                </c:pt>
                <c:pt idx="9">
                  <c:v>-0.8314606741573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EC8-4D2D-A129-7BBD2457787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4</c:v>
                </c:pt>
                <c:pt idx="4">
                  <c:v>5</c:v>
                </c:pt>
                <c:pt idx="5">
                  <c:v>1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FC-485E-A239-91056AD846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0%</c:formatCode>
                <c:ptCount val="7"/>
                <c:pt idx="0">
                  <c:v>1.5</c:v>
                </c:pt>
                <c:pt idx="1">
                  <c:v>0</c:v>
                </c:pt>
                <c:pt idx="2">
                  <c:v>-0.6</c:v>
                </c:pt>
                <c:pt idx="3">
                  <c:v>1</c:v>
                </c:pt>
                <c:pt idx="4">
                  <c:v>0.25</c:v>
                </c:pt>
                <c:pt idx="5">
                  <c:v>-0.8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5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4</c:v>
                </c:pt>
                <c:pt idx="1">
                  <c:v>5</c:v>
                </c:pt>
                <c:pt idx="2">
                  <c:v>2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BB-451E-A844-70D18C4C6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BB-451E-A844-70D18C4C6B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;@</c:formatCode>
                <c:ptCount val="7"/>
                <c:pt idx="0">
                  <c:v>43822</c:v>
                </c:pt>
                <c:pt idx="1">
                  <c:v>43823</c:v>
                </c:pt>
                <c:pt idx="2">
                  <c:v>43824</c:v>
                </c:pt>
                <c:pt idx="3">
                  <c:v>43825</c:v>
                </c:pt>
                <c:pt idx="4">
                  <c:v>43826</c:v>
                </c:pt>
                <c:pt idx="5">
                  <c:v>43827</c:v>
                </c:pt>
                <c:pt idx="6">
                  <c:v>43828</c:v>
                </c:pt>
              </c:numCache>
            </c:numRef>
          </c:cat>
          <c:val>
            <c:numRef>
              <c:f>Sheet1!$C$9:$C$15</c:f>
              <c:numCache>
                <c:formatCode>0%</c:formatCode>
                <c:ptCount val="7"/>
                <c:pt idx="0">
                  <c:v>1</c:v>
                </c:pt>
                <c:pt idx="1">
                  <c:v>0.25</c:v>
                </c:pt>
                <c:pt idx="2">
                  <c:v>-0.6</c:v>
                </c:pt>
                <c:pt idx="3">
                  <c:v>-0.5</c:v>
                </c:pt>
                <c:pt idx="4">
                  <c:v>1</c:v>
                </c:pt>
                <c:pt idx="5">
                  <c:v>-0.5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BB-451E-A844-70D18C4C6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5767952135167299E-2"/>
          <c:y val="8.8921761618033002E-2"/>
          <c:w val="0.859898913605603"/>
          <c:h val="0.718784931295353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B$2:$B$40</c:f>
              <c:numCache>
                <c:formatCode>General</c:formatCode>
                <c:ptCount val="39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C$2:$C$40</c:f>
              <c:numCache>
                <c:formatCode>0%</c:formatCode>
                <c:ptCount val="39"/>
                <c:pt idx="0">
                  <c:v>#N/A</c:v>
                </c:pt>
                <c:pt idx="1">
                  <c:v>#N/A</c:v>
                </c:pt>
                <c:pt idx="2" formatCode="0.00%">
                  <c:v>0.47826086956521741</c:v>
                </c:pt>
                <c:pt idx="3" formatCode="0.00%">
                  <c:v>0.31372549019607843</c:v>
                </c:pt>
                <c:pt idx="4" formatCode="0.00%">
                  <c:v>0.27611940298507465</c:v>
                </c:pt>
                <c:pt idx="5" formatCode="0.00%">
                  <c:v>0.16374269005847952</c:v>
                </c:pt>
                <c:pt idx="6" formatCode="0.00%">
                  <c:v>0.20603015075376885</c:v>
                </c:pt>
                <c:pt idx="7" formatCode="0.00%">
                  <c:v>0.15</c:v>
                </c:pt>
                <c:pt idx="8" formatCode="0.00%">
                  <c:v>0.13768115942028986</c:v>
                </c:pt>
                <c:pt idx="9" formatCode="0.00%">
                  <c:v>0.41719745222929938</c:v>
                </c:pt>
                <c:pt idx="10" formatCode="0.00%">
                  <c:v>0.12359550561797752</c:v>
                </c:pt>
                <c:pt idx="11" formatCode="0.00%">
                  <c:v>7.1999999999999995E-2</c:v>
                </c:pt>
                <c:pt idx="12" formatCode="0.00%">
                  <c:v>6.3432835820895525E-2</c:v>
                </c:pt>
                <c:pt idx="13" formatCode="0.00%">
                  <c:v>5.2631578947368418E-2</c:v>
                </c:pt>
                <c:pt idx="14" formatCode="0.00%">
                  <c:v>3.3333333333333333E-2</c:v>
                </c:pt>
                <c:pt idx="15" formatCode="0.00%">
                  <c:v>3.870967741935484E-2</c:v>
                </c:pt>
                <c:pt idx="16" formatCode="0.00%">
                  <c:v>2.7950310559006212E-2</c:v>
                </c:pt>
                <c:pt idx="17" formatCode="0.00%">
                  <c:v>4.9848942598187312E-2</c:v>
                </c:pt>
                <c:pt idx="18" formatCode="0.00%">
                  <c:v>1.5827338129496403E-2</c:v>
                </c:pt>
                <c:pt idx="19" formatCode="0.00%">
                  <c:v>3.6827195467422094E-2</c:v>
                </c:pt>
                <c:pt idx="20" formatCode="0.00%">
                  <c:v>4.2349726775956283E-2</c:v>
                </c:pt>
                <c:pt idx="21" formatCode="0.00%">
                  <c:v>4.3250327653997382E-2</c:v>
                </c:pt>
                <c:pt idx="22" formatCode="0.00%">
                  <c:v>3.5175879396984924E-2</c:v>
                </c:pt>
                <c:pt idx="23" formatCode="0.00%">
                  <c:v>3.640776699029126E-2</c:v>
                </c:pt>
                <c:pt idx="24" formatCode="0.00%">
                  <c:v>3.5128805620608897E-2</c:v>
                </c:pt>
                <c:pt idx="25" formatCode="0.00%">
                  <c:v>2.0361990950226245E-2</c:v>
                </c:pt>
                <c:pt idx="26" formatCode="0.00%">
                  <c:v>2.2172949002217297E-2</c:v>
                </c:pt>
                <c:pt idx="27" formatCode="0.00%">
                  <c:v>1.6268980477223426E-2</c:v>
                </c:pt>
                <c:pt idx="28" formatCode="0.00%">
                  <c:v>2.0277481323372464E-2</c:v>
                </c:pt>
                <c:pt idx="29" formatCode="0.00%">
                  <c:v>3.1380753138075312E-2</c:v>
                </c:pt>
                <c:pt idx="30" formatCode="0.00%">
                  <c:v>2.8397565922920892E-2</c:v>
                </c:pt>
                <c:pt idx="31" formatCode="0.00%">
                  <c:v>2.6627218934911243E-2</c:v>
                </c:pt>
                <c:pt idx="32" formatCode="0.00%">
                  <c:v>2.8818443804034581E-2</c:v>
                </c:pt>
                <c:pt idx="33" formatCode="0.00%">
                  <c:v>2.2408963585434174E-2</c:v>
                </c:pt>
                <c:pt idx="34" formatCode="0.00%">
                  <c:v>2.6484018264840183E-2</c:v>
                </c:pt>
                <c:pt idx="35" formatCode="0.00%">
                  <c:v>1.8683274021352312E-2</c:v>
                </c:pt>
                <c:pt idx="36" formatCode="0.00%">
                  <c:v>2.4454148471615721E-2</c:v>
                </c:pt>
                <c:pt idx="37" formatCode="0.00%">
                  <c:v>1.4492753623188406E-2</c:v>
                </c:pt>
                <c:pt idx="38" formatCode="0.00%">
                  <c:v>2.352941176470588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E3-49C9-A99D-B8F763DF9B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0</c:f>
              <c:strCache>
                <c:ptCount val="39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</c:strCache>
            </c:strRef>
          </c:cat>
          <c:val>
            <c:numRef>
              <c:f>Sheet1!$D$2:$D$40</c:f>
              <c:numCache>
                <c:formatCode>General</c:formatCode>
                <c:ptCount val="39"/>
                <c:pt idx="0" formatCode="0%">
                  <c:v>#N/A</c:v>
                </c:pt>
                <c:pt idx="1">
                  <c:v>#N/A</c:v>
                </c:pt>
                <c:pt idx="2" formatCode="0.00%">
                  <c:v>-0.47619047619047616</c:v>
                </c:pt>
                <c:pt idx="3" formatCode="0.00%">
                  <c:v>-3.0303030303030304E-2</c:v>
                </c:pt>
                <c:pt idx="4" formatCode="0.00%">
                  <c:v>0.15625</c:v>
                </c:pt>
                <c:pt idx="5" formatCode="0.00%">
                  <c:v>-0.24324324324324326</c:v>
                </c:pt>
                <c:pt idx="6" formatCode="0.00%">
                  <c:v>0.4642857142857143</c:v>
                </c:pt>
                <c:pt idx="7" formatCode="0.00%">
                  <c:v>-0.12195121951219512</c:v>
                </c:pt>
                <c:pt idx="8" formatCode="0.00%">
                  <c:v>5.5555555555555552E-2</c:v>
                </c:pt>
                <c:pt idx="9" formatCode="0.00%">
                  <c:v>2.4473684210526314</c:v>
                </c:pt>
                <c:pt idx="10" formatCode="0.00%">
                  <c:v>-0.58015267175572516</c:v>
                </c:pt>
                <c:pt idx="11" formatCode="0.00%">
                  <c:v>-0.34545454545454546</c:v>
                </c:pt>
                <c:pt idx="12" formatCode="0.00%">
                  <c:v>-5.5555555555555552E-2</c:v>
                </c:pt>
                <c:pt idx="13" formatCode="0.00%">
                  <c:v>-0.11764705882352941</c:v>
                </c:pt>
                <c:pt idx="14" formatCode="0.00%">
                  <c:v>-0.33333333333333331</c:v>
                </c:pt>
                <c:pt idx="15" formatCode="0.00%">
                  <c:v>0.2</c:v>
                </c:pt>
                <c:pt idx="16" formatCode="0.00%">
                  <c:v>-0.25</c:v>
                </c:pt>
                <c:pt idx="17" formatCode="0.00%">
                  <c:v>0.83333333333333337</c:v>
                </c:pt>
                <c:pt idx="18" formatCode="0.00%">
                  <c:v>-0.66666666666666663</c:v>
                </c:pt>
                <c:pt idx="19" formatCode="0.00%">
                  <c:v>1.3636363636363635</c:v>
                </c:pt>
                <c:pt idx="20" formatCode="0.00%">
                  <c:v>0.19230769230769232</c:v>
                </c:pt>
                <c:pt idx="21" formatCode="0.00%">
                  <c:v>6.4516129032258063E-2</c:v>
                </c:pt>
                <c:pt idx="22" formatCode="0.00%">
                  <c:v>-0.15151515151515152</c:v>
                </c:pt>
                <c:pt idx="23" formatCode="0.00%">
                  <c:v>7.1428571428571425E-2</c:v>
                </c:pt>
                <c:pt idx="24" formatCode="0.00%">
                  <c:v>0</c:v>
                </c:pt>
                <c:pt idx="25" formatCode="0.00%">
                  <c:v>-0.4</c:v>
                </c:pt>
                <c:pt idx="26" formatCode="0.00%">
                  <c:v>0.1111111111111111</c:v>
                </c:pt>
                <c:pt idx="27" formatCode="0.00%">
                  <c:v>-0.25</c:v>
                </c:pt>
                <c:pt idx="28" formatCode="0.00%">
                  <c:v>0.26666666666666666</c:v>
                </c:pt>
                <c:pt idx="29" formatCode="0.00%">
                  <c:v>0.57894736842105265</c:v>
                </c:pt>
                <c:pt idx="30" formatCode="0.00%">
                  <c:v>-6.6666666666666666E-2</c:v>
                </c:pt>
                <c:pt idx="31" formatCode="0.00%">
                  <c:v>-3.5714285714285712E-2</c:v>
                </c:pt>
                <c:pt idx="32" formatCode="0.00%">
                  <c:v>0.1111111111111111</c:v>
                </c:pt>
                <c:pt idx="33" formatCode="0.00%">
                  <c:v>-0.2</c:v>
                </c:pt>
                <c:pt idx="34" formatCode="0.00%">
                  <c:v>0.20833333333333334</c:v>
                </c:pt>
                <c:pt idx="35" formatCode="0.00%">
                  <c:v>-0.27586206896551724</c:v>
                </c:pt>
                <c:pt idx="36" formatCode="0.00%">
                  <c:v>0.33333333333333331</c:v>
                </c:pt>
                <c:pt idx="37" formatCode="0.00%">
                  <c:v>-0.39285714285714285</c:v>
                </c:pt>
                <c:pt idx="38" formatCode="0.00%">
                  <c:v>0.6470588235294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  <a:t>06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  <a:t>06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  <a:t>30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</a:p>
          <a:p>
            <a:pPr lvl="1"/>
            <a:r>
              <a:rPr lang="en-US" noProof="0" dirty="0"/>
              <a:t>Second level: First bullet point level</a:t>
            </a:r>
          </a:p>
          <a:p>
            <a:pPr lvl="2"/>
            <a:r>
              <a:rPr lang="en-US" noProof="0" dirty="0"/>
              <a:t>Third level: Second bullet point level</a:t>
            </a:r>
          </a:p>
          <a:p>
            <a:pPr lvl="3"/>
            <a:r>
              <a:rPr lang="en-US" noProof="0" dirty="0"/>
              <a:t>Fourth level: Third bullet point level</a:t>
            </a:r>
          </a:p>
          <a:p>
            <a:pPr lvl="4"/>
            <a:r>
              <a:rPr lang="en-US" noProof="0" dirty="0"/>
              <a:t>Fifth level: Fourth bullet point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21.xml"/><Relationship Id="rId7" Type="http://schemas.openxmlformats.org/officeDocument/2006/relationships/chart" Target="../charts/chart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1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1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29.xml"/><Relationship Id="rId7" Type="http://schemas.openxmlformats.org/officeDocument/2006/relationships/chart" Target="../charts/chart1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1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33.xml"/><Relationship Id="rId7" Type="http://schemas.openxmlformats.org/officeDocument/2006/relationships/chart" Target="../charts/chart1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2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37.xml"/><Relationship Id="rId7" Type="http://schemas.openxmlformats.org/officeDocument/2006/relationships/chart" Target="../charts/chart2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2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41.xml"/><Relationship Id="rId7" Type="http://schemas.openxmlformats.org/officeDocument/2006/relationships/chart" Target="../charts/char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2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45.xml"/><Relationship Id="rId7" Type="http://schemas.openxmlformats.org/officeDocument/2006/relationships/chart" Target="../charts/chart2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tags" Target="../tags/tag47.xml"/><Relationship Id="rId7" Type="http://schemas.openxmlformats.org/officeDocument/2006/relationships/chart" Target="../charts/chart2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3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tags" Target="../tags/tag53.xml"/><Relationship Id="rId7" Type="http://schemas.openxmlformats.org/officeDocument/2006/relationships/chart" Target="../charts/chart3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3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3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6.xml"/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chart" Target="../charts/chart38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3.xml"/><Relationship Id="rId7" Type="http://schemas.openxmlformats.org/officeDocument/2006/relationships/chart" Target="../charts/char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7.xml"/><Relationship Id="rId7" Type="http://schemas.openxmlformats.org/officeDocument/2006/relationships/chart" Target="../charts/char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6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1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US" altLang="zh-CN" dirty="0"/>
              <a:t>Jan 01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3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56249015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784222627"/>
              </p:ext>
            </p:extLst>
          </p:nvPr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5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008621669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9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ECDD48C2-D558-4E30-B0BB-77EB483179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7243673"/>
              </p:ext>
            </p:extLst>
          </p:nvPr>
        </p:nvGraphicFramePr>
        <p:xfrm>
          <a:off x="819928" y="190500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Box 8">
            <a:extLst>
              <a:ext uri="{FF2B5EF4-FFF2-40B4-BE49-F238E27FC236}">
                <a16:creationId xmlns:a16="http://schemas.microsoft.com/office/drawing/2014/main" id="{B45B0A21-0548-4C78-894A-B522F0F0DA71}"/>
              </a:ext>
            </a:extLst>
          </p:cNvPr>
          <p:cNvSpPr txBox="1"/>
          <p:nvPr/>
        </p:nvSpPr>
        <p:spPr>
          <a:xfrm>
            <a:off x="5153986" y="1955532"/>
            <a:ext cx="741954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60091D32-0963-4B38-91BA-7DAE5C593D20}"/>
              </a:ext>
            </a:extLst>
          </p:cNvPr>
          <p:cNvSpPr txBox="1"/>
          <p:nvPr/>
        </p:nvSpPr>
        <p:spPr>
          <a:xfrm>
            <a:off x="7772400" y="3351137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3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804327743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180819089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3785279950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4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541085391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8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093770340"/>
              </p:ext>
            </p:extLst>
          </p:nvPr>
        </p:nvGraphicFramePr>
        <p:xfrm>
          <a:off x="685800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54165721-CE5B-4BA4-9681-AECF99E70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5924652"/>
              </p:ext>
            </p:extLst>
          </p:nvPr>
        </p:nvGraphicFramePr>
        <p:xfrm>
          <a:off x="6245303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8">
            <a:extLst>
              <a:ext uri="{FF2B5EF4-FFF2-40B4-BE49-F238E27FC236}">
                <a16:creationId xmlns:a16="http://schemas.microsoft.com/office/drawing/2014/main" id="{597C1A28-EA9B-4C75-9660-29FB274DE52F}"/>
              </a:ext>
            </a:extLst>
          </p:cNvPr>
          <p:cNvSpPr txBox="1"/>
          <p:nvPr/>
        </p:nvSpPr>
        <p:spPr>
          <a:xfrm>
            <a:off x="10749482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8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644935923"/>
              </p:ext>
            </p:extLst>
          </p:nvPr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909816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0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052686417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425434708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5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4272414930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7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</a:p>
          <a:p>
            <a:r>
              <a:rPr lang="en-US" altLang="zh-CN" sz="1000" dirty="0"/>
              <a:t>Daily downloads CW01 vs. CW52 </a:t>
            </a:r>
            <a:r>
              <a:rPr lang="en-US" sz="1000" b="1" dirty="0"/>
              <a:t>– Page 4</a:t>
            </a:r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</a:p>
          <a:p>
            <a:r>
              <a:rPr lang="en-US" altLang="zh-CN" b="1" dirty="0"/>
              <a:t>Active Users</a:t>
            </a:r>
          </a:p>
          <a:p>
            <a:r>
              <a:rPr lang="en-US" altLang="zh-CN" sz="1000" dirty="0"/>
              <a:t>Daily active users CW01 vs. CW52 </a:t>
            </a:r>
            <a:r>
              <a:rPr lang="en-US" altLang="zh-CN" sz="1000" b="1" dirty="0"/>
              <a:t>– Page 8</a:t>
            </a:r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</a:p>
          <a:p>
            <a:r>
              <a:rPr lang="en-US" altLang="zh-CN" b="1" dirty="0"/>
              <a:t>Journeys</a:t>
            </a:r>
          </a:p>
          <a:p>
            <a:r>
              <a:rPr lang="en-US" altLang="zh-CN" sz="1000" dirty="0"/>
              <a:t>Daily journeys CW01 vs. CW52 </a:t>
            </a:r>
            <a:r>
              <a:rPr lang="en-US" altLang="zh-CN" sz="1000" b="1" dirty="0"/>
              <a:t>– Page 12</a:t>
            </a:r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</a:p>
          <a:p>
            <a:pPr lvl="0"/>
            <a:r>
              <a:rPr lang="en-US" altLang="zh-CN" b="1" dirty="0"/>
              <a:t>Running Time</a:t>
            </a:r>
          </a:p>
          <a:p>
            <a:pPr lvl="0"/>
            <a:r>
              <a:rPr lang="en-US" altLang="zh-CN" sz="1000" dirty="0"/>
              <a:t>Daily running time CW01 vs. CW52 – </a:t>
            </a:r>
            <a:r>
              <a:rPr lang="en-US" altLang="zh-CN" sz="1000" b="1" dirty="0"/>
              <a:t>Page 16</a:t>
            </a:r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</a:p>
          <a:p>
            <a:r>
              <a:rPr lang="en-US" altLang="zh-CN" sz="1000" dirty="0"/>
              <a:t>User activities CW01 vs. CW52 </a:t>
            </a:r>
            <a:r>
              <a:rPr lang="en-US" altLang="zh-CN" sz="1000" b="1" dirty="0"/>
              <a:t>– Page 20</a:t>
            </a:r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</a:p>
          <a:p>
            <a:r>
              <a:rPr lang="en-US" altLang="zh-CN" b="1" dirty="0"/>
              <a:t>User Preferred Charging Destination</a:t>
            </a:r>
          </a:p>
          <a:p>
            <a:r>
              <a:rPr lang="en-US" altLang="zh-CN" sz="1000" dirty="0"/>
              <a:t>User preferred charging destination analysis CW01 vs. CW52 –</a:t>
            </a:r>
            <a:r>
              <a:rPr lang="en-US" altLang="zh-CN" sz="1000" b="1" dirty="0"/>
              <a:t> Page 24</a:t>
            </a:r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</a:p>
          <a:p>
            <a:r>
              <a:rPr lang="en-US" altLang="zh-CN" b="1" dirty="0"/>
              <a:t>Recommended Times</a:t>
            </a:r>
          </a:p>
          <a:p>
            <a:r>
              <a:rPr lang="en-US" altLang="zh-CN" sz="1000" dirty="0"/>
              <a:t>Daily recommended times CW01 vs. CW52 </a:t>
            </a:r>
            <a:r>
              <a:rPr lang="en-US" altLang="zh-CN" sz="1000" b="1" dirty="0"/>
              <a:t>– Page 28</a:t>
            </a:r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</a:p>
          <a:p>
            <a:r>
              <a:rPr lang="en-US" altLang="zh-CN" b="1" dirty="0"/>
              <a:t>IT Operation</a:t>
            </a:r>
          </a:p>
          <a:p>
            <a:r>
              <a:rPr lang="en-US" altLang="zh-CN" sz="1000" dirty="0"/>
              <a:t>Tickets/requests report of CW01</a:t>
            </a:r>
            <a:r>
              <a:rPr lang="en-US" altLang="zh-CN" sz="1000" b="1" dirty="0"/>
              <a:t>– Page 32</a:t>
            </a:r>
          </a:p>
          <a:p>
            <a:r>
              <a:rPr lang="en-US" altLang="zh-CN" sz="1000" dirty="0"/>
              <a:t>Log &amp; alert review report of CW01</a:t>
            </a:r>
            <a:r>
              <a:rPr lang="en-US" altLang="zh-CN" sz="1000" b="1" dirty="0"/>
              <a:t>-Page 33</a:t>
            </a:r>
          </a:p>
          <a:p>
            <a:r>
              <a:rPr lang="en-US" altLang="zh-CN" sz="1000" dirty="0"/>
              <a:t>SLA report of CW01</a:t>
            </a:r>
            <a:r>
              <a:rPr lang="en-US" altLang="zh-CN" sz="1000" b="1" dirty="0"/>
              <a:t>-Page 34</a:t>
            </a:r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1 vs. CW52</a:t>
            </a:r>
            <a:endParaRPr lang="en-US" dirty="0"/>
          </a:p>
        </p:txBody>
      </p:sp>
      <p:graphicFrame>
        <p:nvGraphicFramePr>
          <p:cNvPr id="7" name="Chart 7"/>
          <p:cNvGraphicFramePr/>
          <p:nvPr>
            <p:extLst>
              <p:ext uri="{D42A27DB-BD31-4B8C-83A1-F6EECF244321}">
                <p14:modId xmlns:p14="http://schemas.microsoft.com/office/powerpoint/2010/main" val="642960965"/>
              </p:ext>
            </p:extLst>
          </p:nvPr>
        </p:nvGraphicFramePr>
        <p:xfrm>
          <a:off x="68580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3" name="Chart 7">
            <a:extLst>
              <a:ext uri="{FF2B5EF4-FFF2-40B4-BE49-F238E27FC236}">
                <a16:creationId xmlns:a16="http://schemas.microsoft.com/office/drawing/2014/main" id="{8EB93D3A-8F02-46F3-82D0-21ACF82998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1308941"/>
              </p:ext>
            </p:extLst>
          </p:nvPr>
        </p:nvGraphicFramePr>
        <p:xfrm>
          <a:off x="6179187" y="211233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EA8726BC-CE79-416C-B44C-AB6E7682ECAF}"/>
              </a:ext>
            </a:extLst>
          </p:cNvPr>
          <p:cNvSpPr txBox="1"/>
          <p:nvPr/>
        </p:nvSpPr>
        <p:spPr>
          <a:xfrm>
            <a:off x="10751187" y="2112335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3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425472778"/>
              </p:ext>
            </p:extLst>
          </p:nvPr>
        </p:nvGraphicFramePr>
        <p:xfrm>
          <a:off x="697634" y="2133599"/>
          <a:ext cx="9741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9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066024409"/>
              </p:ext>
            </p:extLst>
          </p:nvPr>
        </p:nvGraphicFramePr>
        <p:xfrm>
          <a:off x="685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168433511"/>
              </p:ext>
            </p:extLst>
          </p:nvPr>
        </p:nvGraphicFramePr>
        <p:xfrm>
          <a:off x="6400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7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3740518411"/>
              </p:ext>
            </p:extLst>
          </p:nvPr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35907441"/>
              </p:ext>
            </p:extLst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9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01 vs. CW52</a:t>
            </a:r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0BAFE3C6-8A46-4563-91D6-31F26DA9A704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1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2E5B2C2D-4E1B-409F-80A2-3E1C3DBFF142}"/>
              </a:ext>
            </a:extLst>
          </p:cNvPr>
          <p:cNvSpPr txBox="1"/>
          <p:nvPr/>
        </p:nvSpPr>
        <p:spPr>
          <a:xfrm>
            <a:off x="7985431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2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607143366"/>
              </p:ext>
            </p:extLst>
          </p:nvPr>
        </p:nvGraphicFramePr>
        <p:xfrm>
          <a:off x="695325" y="1447800"/>
          <a:ext cx="96655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4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58100173"/>
              </p:ext>
            </p:extLst>
          </p:nvPr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081506555"/>
              </p:ext>
            </p:extLst>
          </p:nvPr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6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3183091080"/>
              </p:ext>
            </p:extLst>
          </p:nvPr>
        </p:nvGraphicFramePr>
        <p:xfrm>
          <a:off x="6245087" y="2527762"/>
          <a:ext cx="5250815" cy="36914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8070D6D5-0946-425D-A04B-844A864C0975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</a:t>
            </a:r>
            <a:r>
              <a:rPr lang="en-US" sz="1400" kern="0" dirty="0"/>
              <a:t>Jan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7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1 vs. CW5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740C30BB-70EB-4A1B-B65D-FF5822088159}"/>
              </a:ext>
            </a:extLst>
          </p:cNvPr>
          <p:cNvSpPr txBox="1"/>
          <p:nvPr/>
        </p:nvSpPr>
        <p:spPr>
          <a:xfrm>
            <a:off x="21336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sz="1400" kern="0" baseline="0" dirty="0"/>
              <a:t>01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0B98B04D-12D4-4AAA-B932-838C854F6030}"/>
              </a:ext>
            </a:extLst>
          </p:cNvPr>
          <p:cNvSpPr txBox="1"/>
          <p:nvPr/>
        </p:nvSpPr>
        <p:spPr>
          <a:xfrm>
            <a:off x="71628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en-US" altLang="zh-CN" sz="1400" kern="0" dirty="0"/>
              <a:t>5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1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052180553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6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197336"/>
              </p:ext>
            </p:extLst>
          </p:nvPr>
        </p:nvGraphicFramePr>
        <p:xfrm>
          <a:off x="695325" y="838200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0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</a:t>
                      </a:r>
                      <a:r>
                        <a:rPr lang="en-US" altLang="zh-CN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52</a:t>
                      </a:r>
                      <a:endParaRPr lang="en-US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</a:p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2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8.3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6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4.7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1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.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7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33.3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24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4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0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8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5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.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7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等线" panose="02010600030101010101" pitchFamily="2" charset="-122"/>
                        </a:rPr>
                        <a:t>　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90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442898149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1864343669"/>
              </p:ext>
            </p:extLst>
          </p:nvPr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3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735610048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68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5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1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318067"/>
              </p:ext>
            </p:ext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05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65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1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>
            <a:extLst>
              <a:ext uri="{FF2B5EF4-FFF2-40B4-BE49-F238E27FC236}">
                <a16:creationId xmlns:a16="http://schemas.microsoft.com/office/drawing/2014/main" id="{D461F432-A2C3-4ED7-A3DF-6F7007CD96C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645184857"/>
              </p:ext>
            </p:extLst>
          </p:nvPr>
        </p:nvGraphicFramePr>
        <p:xfrm>
          <a:off x="695325" y="1066800"/>
          <a:ext cx="11164889" cy="5105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22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4229">
                  <a:extLst>
                    <a:ext uri="{9D8B030D-6E8A-4147-A177-3AD203B41FA5}">
                      <a16:colId xmlns:a16="http://schemas.microsoft.com/office/drawing/2014/main" val="488539033"/>
                    </a:ext>
                  </a:extLst>
                </a:gridCol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Alarm Statu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data for CW 01 is 0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807800"/>
                  </a:ext>
                </a:extLst>
              </a:tr>
              <a:tr h="8382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683788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329502"/>
                  </a:ext>
                </a:extLst>
              </a:tr>
              <a:tr h="8382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867093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udi Type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0906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099078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96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82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692046300"/>
              </p:ext>
            </p:ext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>
                  <a:extLst>
                    <a:ext uri="{9D8B030D-6E8A-4147-A177-3AD203B41FA5}">
                      <a16:colId xmlns:a16="http://schemas.microsoft.com/office/drawing/2014/main" val="1238309421"/>
                    </a:ext>
                  </a:extLst>
                </a:gridCol>
                <a:gridCol w="2595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859724340"/>
                    </a:ext>
                  </a:extLst>
                </a:gridCol>
                <a:gridCol w="1740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9607896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7142125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10210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4599871"/>
                  </a:ext>
                </a:extLst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1</a:t>
            </a:r>
            <a:br>
              <a:rPr lang="zh-CN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30864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5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164216411"/>
              </p:ext>
            </p:extLst>
          </p:nvPr>
        </p:nvGraphicFramePr>
        <p:xfrm>
          <a:off x="696913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988120"/>
              </p:ext>
            </p:ext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1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2625033F-C3B8-420E-9CE8-41F7105D6B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75207"/>
              </p:ext>
            </p:extLst>
          </p:nvPr>
        </p:nvGraphicFramePr>
        <p:xfrm>
          <a:off x="6211888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le 8">
            <a:extLst>
              <a:ext uri="{FF2B5EF4-FFF2-40B4-BE49-F238E27FC236}">
                <a16:creationId xmlns:a16="http://schemas.microsoft.com/office/drawing/2014/main" id="{5AF995AF-8C11-4FD5-ACFE-5E6D1E71A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23770"/>
              </p:ext>
            </p:extLst>
          </p:nvPr>
        </p:nvGraphicFramePr>
        <p:xfrm>
          <a:off x="6200775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52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2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096777952"/>
              </p:ext>
            </p:extLst>
          </p:nvPr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052776"/>
              </p:ext>
            </p:extLst>
          </p:nvPr>
        </p:nvGraphicFramePr>
        <p:xfrm>
          <a:off x="685800" y="5986675"/>
          <a:ext cx="5715000" cy="561132"/>
        </p:xfrm>
        <a:graphic>
          <a:graphicData uri="http://schemas.openxmlformats.org/drawingml/2006/table">
            <a:tbl>
              <a:tblPr/>
              <a:tblGrid>
                <a:gridCol w="15853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71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67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57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50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0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904809575"/>
              </p:ext>
            </p:extLst>
          </p:nvPr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4" name="Chart 7"/>
          <p:cNvGraphicFramePr/>
          <p:nvPr>
            <p:extLst>
              <p:ext uri="{D42A27DB-BD31-4B8C-83A1-F6EECF244321}">
                <p14:modId xmlns:p14="http://schemas.microsoft.com/office/powerpoint/2010/main" val="237815294"/>
              </p:ext>
            </p:extLst>
          </p:nvPr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589500270"/>
              </p:ext>
            </p:extLst>
          </p:nvPr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9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1 vs. CW5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28550942"/>
              </p:ext>
            </p:extLst>
          </p:nvPr>
        </p:nvGraphicFramePr>
        <p:xfrm>
          <a:off x="678481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2D7D1683-10AE-4BFF-9C20-A683577A36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0137679"/>
              </p:ext>
            </p:extLst>
          </p:nvPr>
        </p:nvGraphicFramePr>
        <p:xfrm>
          <a:off x="6400800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11">
            <a:extLst>
              <a:ext uri="{FF2B5EF4-FFF2-40B4-BE49-F238E27FC236}">
                <a16:creationId xmlns:a16="http://schemas.microsoft.com/office/drawing/2014/main" id="{009B3BFA-4241-4343-911D-5496012050F8}"/>
              </a:ext>
            </a:extLst>
          </p:cNvPr>
          <p:cNvSpPr txBox="1"/>
          <p:nvPr/>
        </p:nvSpPr>
        <p:spPr>
          <a:xfrm>
            <a:off x="10814896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4227047192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LoLql6RUeuYQ4rLl7q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JxiPNwRz.CeyOxFcvl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rEv0hCRge0U7GucsMp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extraClrSchemeLst/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194</TotalTime>
  <Words>2600</Words>
  <Application>Microsoft Office PowerPoint</Application>
  <PresentationFormat>宽屏</PresentationFormat>
  <Paragraphs>521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2" baseType="lpstr">
      <vt:lpstr>Audi Type</vt:lpstr>
      <vt:lpstr>Audi Type Extended</vt:lpstr>
      <vt:lpstr>微软雅黑</vt:lpstr>
      <vt:lpstr>Arial</vt:lpstr>
      <vt:lpstr>Calibri</vt:lpstr>
      <vt:lpstr>Symbol</vt:lpstr>
      <vt:lpstr>Audi_PPT-Template_16x9_EN</vt:lpstr>
      <vt:lpstr>think-cell Slide</vt:lpstr>
      <vt:lpstr>The Weekly Report of Go e-tron App (CW01, 2020)   Jan 01,2020 </vt:lpstr>
      <vt:lpstr>Content</vt:lpstr>
      <vt:lpstr>Data summary  </vt:lpstr>
      <vt:lpstr>Daily downloads CW01 vs. CW52</vt:lpstr>
      <vt:lpstr>Weekly downloads since go live</vt:lpstr>
      <vt:lpstr>Average weekly downloads &amp; average daily downloads</vt:lpstr>
      <vt:lpstr>Monthly downloads since go live </vt:lpstr>
      <vt:lpstr>Daily active users CW01 vs. CW52</vt:lpstr>
      <vt:lpstr>Weekly active users since go live </vt:lpstr>
      <vt:lpstr>Average weekly active users &amp; average daily active users </vt:lpstr>
      <vt:lpstr>Monthly actives users since go live</vt:lpstr>
      <vt:lpstr>Daily journeys CW01 vs. CW52</vt:lpstr>
      <vt:lpstr>Weekly journeys since go live </vt:lpstr>
      <vt:lpstr>Average weekly journeys &amp; average daily journeys</vt:lpstr>
      <vt:lpstr>Monthly journeys since go live</vt:lpstr>
      <vt:lpstr>Daily running time CW01 vs. CW52</vt:lpstr>
      <vt:lpstr>Weekly running time since go live </vt:lpstr>
      <vt:lpstr>Average weekly running time &amp; average daily running time</vt:lpstr>
      <vt:lpstr>Monthly running time since go live </vt:lpstr>
      <vt:lpstr>User activities CW01 vs. CW52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1 vs. CW52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1 vs. CW52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1</vt:lpstr>
      <vt:lpstr>Log &amp; alert review report of CW01  </vt:lpstr>
      <vt:lpstr>SLA report of CW01 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 </cp:lastModifiedBy>
  <cp:revision>1090</cp:revision>
  <dcterms:created xsi:type="dcterms:W3CDTF">2019-06-18T08:03:00Z</dcterms:created>
  <dcterms:modified xsi:type="dcterms:W3CDTF">2020-01-06T06:2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3.0.8632</vt:lpwstr>
  </property>
</Properties>
</file>